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711" r:id="rId5"/>
    <p:sldMasterId id="2147483724" r:id="rId6"/>
  </p:sldMasterIdLst>
  <p:notesMasterIdLst>
    <p:notesMasterId r:id="rId35"/>
  </p:notesMasterIdLst>
  <p:sldIdLst>
    <p:sldId id="316" r:id="rId7"/>
    <p:sldId id="306" r:id="rId8"/>
    <p:sldId id="343" r:id="rId9"/>
    <p:sldId id="346" r:id="rId10"/>
    <p:sldId id="347" r:id="rId11"/>
    <p:sldId id="348" r:id="rId12"/>
    <p:sldId id="257" r:id="rId13"/>
    <p:sldId id="345" r:id="rId14"/>
    <p:sldId id="279" r:id="rId15"/>
    <p:sldId id="284" r:id="rId16"/>
    <p:sldId id="2465" r:id="rId17"/>
    <p:sldId id="2669" r:id="rId18"/>
    <p:sldId id="2528" r:id="rId19"/>
    <p:sldId id="2532" r:id="rId20"/>
    <p:sldId id="2413" r:id="rId21"/>
    <p:sldId id="2530" r:id="rId22"/>
    <p:sldId id="2412" r:id="rId23"/>
    <p:sldId id="2534" r:id="rId24"/>
    <p:sldId id="2535" r:id="rId25"/>
    <p:sldId id="2536" r:id="rId26"/>
    <p:sldId id="2537" r:id="rId27"/>
    <p:sldId id="2349" r:id="rId28"/>
    <p:sldId id="2533" r:id="rId29"/>
    <p:sldId id="282" r:id="rId30"/>
    <p:sldId id="342" r:id="rId31"/>
    <p:sldId id="344" r:id="rId32"/>
    <p:sldId id="340" r:id="rId33"/>
    <p:sldId id="303" r:id="rId34"/>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1pPr>
    <a:lvl2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2pPr>
    <a:lvl3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3pPr>
    <a:lvl4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4pPr>
    <a:lvl5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5pPr>
    <a:lvl6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6pPr>
    <a:lvl7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7pPr>
    <a:lvl8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8pPr>
    <a:lvl9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F5F6"/>
    <a:srgbClr val="90D0D1"/>
    <a:srgbClr val="CDE7E7"/>
    <a:srgbClr val="FFFFFF"/>
    <a:srgbClr val="AFB4B5"/>
    <a:srgbClr val="EDEDED"/>
    <a:srgbClr val="E65C21"/>
    <a:srgbClr val="7BD2D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D3EFA78-0776-42BE-A9E6-78C84182AD79}" v="7" dt="2023-06-13T07:31:59.167"/>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wholeTbl>
    <a:band2H>
      <a:tcTxStyle/>
      <a:tcStyle>
        <a:tcBdr/>
        <a:fill>
          <a:solidFill>
            <a:srgbClr val="E3E5E8"/>
          </a:solidFill>
        </a:fill>
      </a:tcStyle>
    </a:band2H>
    <a:firstCol>
      <a:tcTxStyle b="on" i="off">
        <a:fontRef idx="minor">
          <a:srgbClr val="000000"/>
        </a:fontRef>
        <a:srgbClr val="000000"/>
      </a:tcTxStyle>
      <a:tcStyle>
        <a:tcBdr>
          <a:left>
            <a:ln w="12700" cap="flat">
              <a:solidFill>
                <a:srgbClr val="000000"/>
              </a:solidFill>
              <a:prstDash val="solid"/>
              <a:miter lim="400000"/>
            </a:ln>
          </a:left>
          <a:right>
            <a:ln w="38100" cap="flat">
              <a:solidFill>
                <a:srgbClr val="000000"/>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firstCol>
    <a:la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38100" cap="flat">
              <a:solidFill>
                <a:srgbClr val="000000"/>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lastRow>
    <a:fir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prstDash val="solid"/>
              <a:miter lim="400000"/>
            </a:ln>
          </a:top>
          <a:bottom>
            <a:ln w="381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firstRow>
  </a:tblStyle>
  <a:tblStyle styleId="{C7B018BB-80A7-4F77-B60F-C8B233D01FF8}" styleName="">
    <a:tblBg/>
    <a:wholeTbl>
      <a:tcTxStyle b="off"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12700" cap="flat">
              <a:solidFill>
                <a:srgbClr val="536773"/>
              </a:solidFill>
              <a:prstDash val="solid"/>
              <a:miter lim="400000"/>
            </a:ln>
          </a:top>
          <a:bottom>
            <a:ln w="12700" cap="flat">
              <a:solidFill>
                <a:srgbClr val="536773"/>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wholeTbl>
    <a:band2H>
      <a:tcTxStyle/>
      <a:tcStyle>
        <a:tcBdr/>
        <a:fill>
          <a:solidFill>
            <a:srgbClr val="E3E5E8"/>
          </a:solidFill>
        </a:fill>
      </a:tcStyle>
    </a:band2H>
    <a:firstCol>
      <a:tcTxStyle b="on" i="off">
        <a:fontRef idx="minor">
          <a:srgbClr val="000000"/>
        </a:fontRef>
        <a:srgbClr val="000000"/>
      </a:tcTxStyle>
      <a:tcStyle>
        <a:tcBdr>
          <a:left>
            <a:ln w="12700" cap="flat">
              <a:solidFill>
                <a:srgbClr val="000000"/>
              </a:solidFill>
              <a:prstDash val="solid"/>
              <a:miter lim="400000"/>
            </a:ln>
          </a:left>
          <a:right>
            <a:ln w="25400" cap="flat">
              <a:solidFill>
                <a:srgbClr val="000000"/>
              </a:solidFill>
              <a:prstDash val="solid"/>
              <a:miter lim="400000"/>
            </a:ln>
          </a:right>
          <a:top>
            <a:ln w="12700" cap="flat">
              <a:solidFill>
                <a:srgbClr val="536773"/>
              </a:solidFill>
              <a:prstDash val="solid"/>
              <a:miter lim="400000"/>
            </a:ln>
          </a:top>
          <a:bottom>
            <a:ln w="12700" cap="flat">
              <a:solidFill>
                <a:srgbClr val="536773"/>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firstCol>
    <a:lastRow>
      <a:tcTxStyle b="off"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38100" cap="flat">
              <a:solidFill>
                <a:srgbClr val="000000"/>
              </a:solidFill>
              <a:prstDash val="solid"/>
              <a:miter lim="400000"/>
            </a:ln>
          </a:top>
          <a:bottom>
            <a:ln w="12700" cap="flat">
              <a:solidFill>
                <a:srgbClr val="000000"/>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noFill/>
        </a:fill>
      </a:tcStyle>
    </a:lastRow>
    <a:firstRow>
      <a:tcTxStyle b="on" i="off">
        <a:fontRef idx="minor">
          <a:srgbClr val="000000"/>
        </a:fontRef>
        <a:srgbClr val="000000"/>
      </a:tcTxStyle>
      <a:tcStyle>
        <a:tcBdr>
          <a:left>
            <a:ln w="12700" cap="flat">
              <a:solidFill>
                <a:srgbClr val="536773"/>
              </a:solidFill>
              <a:prstDash val="solid"/>
              <a:miter lim="400000"/>
            </a:ln>
          </a:left>
          <a:right>
            <a:ln w="12700" cap="flat">
              <a:solidFill>
                <a:srgbClr val="536773"/>
              </a:solidFill>
              <a:prstDash val="solid"/>
              <a:miter lim="400000"/>
            </a:ln>
          </a:right>
          <a:top>
            <a:ln w="12700" cap="flat">
              <a:solidFill>
                <a:srgbClr val="000000"/>
              </a:solidFill>
              <a:prstDash val="solid"/>
              <a:miter lim="400000"/>
            </a:ln>
          </a:top>
          <a:bottom>
            <a:ln w="12700" cap="flat">
              <a:solidFill>
                <a:srgbClr val="000000"/>
              </a:solidFill>
              <a:prstDash val="solid"/>
              <a:miter lim="400000"/>
            </a:ln>
          </a:bottom>
          <a:insideH>
            <a:ln w="12700" cap="flat">
              <a:solidFill>
                <a:srgbClr val="536773"/>
              </a:solidFill>
              <a:prstDash val="solid"/>
              <a:miter lim="400000"/>
            </a:ln>
          </a:insideH>
          <a:insideV>
            <a:ln w="12700" cap="flat">
              <a:solidFill>
                <a:srgbClr val="536773"/>
              </a:solidFill>
              <a:prstDash val="solid"/>
              <a:miter lim="400000"/>
            </a:ln>
          </a:insideV>
        </a:tcBdr>
        <a:fill>
          <a:solidFill>
            <a:schemeClr val="accent1">
              <a:lumOff val="16847"/>
            </a:schemeClr>
          </a:solidFill>
        </a:fill>
      </a:tcStyle>
    </a:firstRow>
  </a:tblStyle>
  <a:tblStyle styleId="{EEE7283C-3CF3-47DC-8721-378D4A62B228}" styleName="">
    <a:tblBg/>
    <a:wholeTbl>
      <a:tcTxStyle b="off" i="off">
        <a:fontRef idx="minor">
          <a:srgbClr val="000000"/>
        </a:fontRef>
        <a:srgbClr val="000000"/>
      </a:tcTxStyle>
      <a:tcStyle>
        <a:tcBdr>
          <a:left>
            <a:ln w="12700" cap="flat">
              <a:solidFill>
                <a:srgbClr val="838383"/>
              </a:solidFill>
              <a:prstDash val="solid"/>
              <a:miter lim="400000"/>
            </a:ln>
          </a:left>
          <a:right>
            <a:ln w="12700" cap="flat">
              <a:solidFill>
                <a:srgbClr val="838383"/>
              </a:solidFill>
              <a:prstDash val="solid"/>
              <a:miter lim="400000"/>
            </a:ln>
          </a:right>
          <a:top>
            <a:ln w="12700" cap="flat">
              <a:solidFill>
                <a:srgbClr val="838383"/>
              </a:solidFill>
              <a:prstDash val="solid"/>
              <a:miter lim="400000"/>
            </a:ln>
          </a:top>
          <a:bottom>
            <a:ln w="12700" cap="flat">
              <a:solidFill>
                <a:srgbClr val="838383"/>
              </a:solidFill>
              <a:prstDash val="solid"/>
              <a:miter lim="400000"/>
            </a:ln>
          </a:bottom>
          <a:insideH>
            <a:ln w="12700" cap="flat">
              <a:solidFill>
                <a:srgbClr val="838383"/>
              </a:solidFill>
              <a:prstDash val="solid"/>
              <a:miter lim="400000"/>
            </a:ln>
          </a:insideH>
          <a:insideV>
            <a:ln w="12700" cap="flat">
              <a:solidFill>
                <a:srgbClr val="838383"/>
              </a:solidFill>
              <a:prstDash val="solid"/>
              <a:miter lim="400000"/>
            </a:ln>
          </a:insideV>
        </a:tcBdr>
        <a:fill>
          <a:noFill/>
        </a:fill>
      </a:tcStyle>
    </a:wholeTbl>
    <a:band2H>
      <a:tcTxStyle/>
      <a:tcStyle>
        <a:tcBdr/>
        <a:fill>
          <a:solidFill>
            <a:srgbClr val="EDEEEE"/>
          </a:solidFill>
        </a:fill>
      </a:tcStyle>
    </a:band2H>
    <a:firstCol>
      <a:tcTxStyle b="off" i="off">
        <a:font>
          <a:latin typeface="Helvetica Neue Medium"/>
          <a:ea typeface="Helvetica Neue Medium"/>
          <a:cs typeface="Helvetica Neue Medium"/>
        </a:font>
        <a:srgbClr val="000000"/>
      </a:tcTxStyle>
      <a:tcStyle>
        <a:tcBdr>
          <a:left>
            <a:ln w="12700" cap="flat">
              <a:solidFill>
                <a:srgbClr val="4D4D4D"/>
              </a:solidFill>
              <a:prstDash val="solid"/>
              <a:miter lim="400000"/>
            </a:ln>
          </a:left>
          <a:right>
            <a:ln w="12700" cap="flat">
              <a:solidFill>
                <a:srgbClr val="808080"/>
              </a:solidFill>
              <a:prstDash val="solid"/>
              <a:miter lim="400000"/>
            </a:ln>
          </a:right>
          <a:top>
            <a:ln w="12700" cap="flat">
              <a:solidFill>
                <a:srgbClr val="808080"/>
              </a:solidFill>
              <a:prstDash val="solid"/>
              <a:miter lim="400000"/>
            </a:ln>
          </a:top>
          <a:bottom>
            <a:ln w="12700" cap="flat">
              <a:solidFill>
                <a:srgbClr val="808080"/>
              </a:solidFill>
              <a:prstDash val="solid"/>
              <a:miter lim="400000"/>
            </a:ln>
          </a:bottom>
          <a:insideH>
            <a:ln w="12700" cap="flat">
              <a:solidFill>
                <a:srgbClr val="808080"/>
              </a:solidFill>
              <a:prstDash val="solid"/>
              <a:miter lim="400000"/>
            </a:ln>
          </a:insideH>
          <a:insideV>
            <a:ln w="12700" cap="flat">
              <a:solidFill>
                <a:srgbClr val="808080"/>
              </a:solidFill>
              <a:prstDash val="solid"/>
              <a:miter lim="400000"/>
            </a:ln>
          </a:insideV>
        </a:tcBdr>
        <a:fill>
          <a:solidFill>
            <a:srgbClr val="88FA4F"/>
          </a:solidFill>
        </a:fill>
      </a:tcStyle>
    </a:firstCol>
    <a:lastRow>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38100" cap="flat">
              <a:solidFill>
                <a:schemeClr val="accent3"/>
              </a:solidFill>
              <a:prstDash val="solid"/>
              <a:miter lim="400000"/>
            </a:ln>
          </a:top>
          <a:bottom>
            <a:ln w="12700" cap="flat">
              <a:solidFill>
                <a:srgbClr val="4D4D4D"/>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noFill/>
        </a:fill>
      </a:tcStyle>
    </a:lastRow>
    <a:firstRow>
      <a:tcTxStyle b="off" i="off">
        <a:font>
          <a:latin typeface="Helvetica Neue Medium"/>
          <a:ea typeface="Helvetica Neue Medium"/>
          <a:cs typeface="Helvetica Neue Medium"/>
        </a:font>
        <a:srgbClr val="000000"/>
      </a:tcTxStyle>
      <a:tcStyle>
        <a:tcBdr>
          <a:left>
            <a:ln w="12700" cap="flat">
              <a:solidFill>
                <a:srgbClr val="4D4D4D"/>
              </a:solidFill>
              <a:prstDash val="solid"/>
              <a:miter lim="400000"/>
            </a:ln>
          </a:left>
          <a:right>
            <a:ln w="12700" cap="flat">
              <a:solidFill>
                <a:srgbClr val="4D4D4D"/>
              </a:solidFill>
              <a:prstDash val="solid"/>
              <a:miter lim="400000"/>
            </a:ln>
          </a:right>
          <a:top>
            <a:ln w="12700" cap="flat">
              <a:solidFill>
                <a:srgbClr val="4D4D4D"/>
              </a:solidFill>
              <a:prstDash val="solid"/>
              <a:miter lim="400000"/>
            </a:ln>
          </a:top>
          <a:bottom>
            <a:ln w="12700" cap="flat">
              <a:solidFill>
                <a:srgbClr val="4D4D4D"/>
              </a:solidFill>
              <a:prstDash val="solid"/>
              <a:miter lim="400000"/>
            </a:ln>
          </a:bottom>
          <a:insideH>
            <a:ln w="12700" cap="flat">
              <a:solidFill>
                <a:srgbClr val="4D4D4D"/>
              </a:solidFill>
              <a:prstDash val="solid"/>
              <a:miter lim="400000"/>
            </a:ln>
          </a:insideH>
          <a:insideV>
            <a:ln w="12700" cap="flat">
              <a:solidFill>
                <a:srgbClr val="4D4D4D"/>
              </a:solidFill>
              <a:prstDash val="solid"/>
              <a:miter lim="400000"/>
            </a:ln>
          </a:insideV>
        </a:tcBdr>
        <a:fill>
          <a:solidFill>
            <a:srgbClr val="60D937"/>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AF7E9"/>
          </a:solidFill>
        </a:fill>
      </a:tcStyle>
    </a:wholeTbl>
    <a:band2H>
      <a:tcTxStyle/>
      <a:tcStyle>
        <a:tcBdr/>
        <a:fill>
          <a:solidFill>
            <a:schemeClr val="accent4">
              <a:hueOff val="348544"/>
              <a:lumOff val="7139"/>
            </a:schemeClr>
          </a:solidFill>
        </a:fill>
      </a:tcStyle>
    </a:band2H>
    <a:firstCol>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8BB00"/>
          </a:solidFill>
        </a:fill>
      </a:tcStyle>
    </a:firstCol>
    <a:lastRow>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38100" cap="flat">
              <a:solidFill>
                <a:srgbClr val="F8BA00"/>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AF7E9"/>
          </a:solidFill>
        </a:fill>
      </a:tcStyle>
    </a:lastRow>
    <a:firstRow>
      <a:tcTxStyle b="off" i="off">
        <a:font>
          <a:latin typeface="Helvetica Neue Medium"/>
          <a:ea typeface="Helvetica Neue Medium"/>
          <a:cs typeface="Helvetica Neue Medium"/>
        </a:font>
        <a:srgbClr val="000000"/>
      </a:tcTxStyle>
      <a:tcStyle>
        <a:tcBdr>
          <a:left>
            <a:ln w="12700" cap="flat">
              <a:solidFill>
                <a:srgbClr val="5B5A5A"/>
              </a:solidFill>
              <a:prstDash val="solid"/>
              <a:miter lim="400000"/>
            </a:ln>
          </a:left>
          <a:right>
            <a:ln w="12700" cap="flat">
              <a:solidFill>
                <a:srgbClr val="5B5A5A"/>
              </a:solidFill>
              <a:prstDash val="solid"/>
              <a:miter lim="400000"/>
            </a:ln>
          </a:right>
          <a:top>
            <a:ln w="12700" cap="flat">
              <a:solidFill>
                <a:srgbClr val="5B5A5A"/>
              </a:solidFill>
              <a:prstDash val="solid"/>
              <a:miter lim="400000"/>
            </a:ln>
          </a:top>
          <a:bottom>
            <a:ln w="12700" cap="flat">
              <a:solidFill>
                <a:srgbClr val="5B5A5A"/>
              </a:solidFill>
              <a:prstDash val="solid"/>
              <a:miter lim="400000"/>
            </a:ln>
          </a:bottom>
          <a:insideH>
            <a:ln w="12700" cap="flat">
              <a:solidFill>
                <a:srgbClr val="5B5A5A"/>
              </a:solidFill>
              <a:prstDash val="solid"/>
              <a:miter lim="400000"/>
            </a:ln>
          </a:insideH>
          <a:insideV>
            <a:ln w="12700" cap="flat">
              <a:solidFill>
                <a:srgbClr val="5B5A5A"/>
              </a:solidFill>
              <a:prstDash val="solid"/>
              <a:miter lim="400000"/>
            </a:ln>
          </a:insideV>
        </a:tcBdr>
        <a:fill>
          <a:solidFill>
            <a:srgbClr val="FF9400"/>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464646"/>
              </a:solidFill>
              <a:prstDash val="solid"/>
              <a:miter lim="400000"/>
            </a:ln>
          </a:left>
          <a:right>
            <a:ln w="12700" cap="flat">
              <a:solidFill>
                <a:srgbClr val="464646"/>
              </a:solidFill>
              <a:prstDash val="solid"/>
              <a:miter lim="400000"/>
            </a:ln>
          </a:right>
          <a:top>
            <a:ln w="12700" cap="flat">
              <a:solidFill>
                <a:srgbClr val="464646"/>
              </a:solidFill>
              <a:prstDash val="solid"/>
              <a:miter lim="400000"/>
            </a:ln>
          </a:top>
          <a:bottom>
            <a:ln w="12700" cap="flat">
              <a:solidFill>
                <a:srgbClr val="464646"/>
              </a:solidFill>
              <a:prstDash val="solid"/>
              <a:miter lim="400000"/>
            </a:ln>
          </a:bottom>
          <a:insideH>
            <a:ln w="12700" cap="flat">
              <a:solidFill>
                <a:srgbClr val="464646"/>
              </a:solidFill>
              <a:prstDash val="solid"/>
              <a:miter lim="400000"/>
            </a:ln>
          </a:insideH>
          <a:insideV>
            <a:ln w="12700" cap="flat">
              <a:solidFill>
                <a:srgbClr val="464646"/>
              </a:solidFill>
              <a:prstDash val="solid"/>
              <a:miter lim="400000"/>
            </a:ln>
          </a:insideV>
        </a:tcBdr>
        <a:fill>
          <a:noFill/>
        </a:fill>
      </a:tcStyle>
    </a:wholeTbl>
    <a:band2H>
      <a:tcTxStyle/>
      <a:tcStyle>
        <a:tcBdr/>
        <a:fill>
          <a:solidFill>
            <a:srgbClr val="D4D5D5"/>
          </a:solidFill>
        </a:fill>
      </a:tcStyle>
    </a:band2H>
    <a:firstCol>
      <a:tcTxStyle b="on" i="off">
        <a:fontRef idx="minor">
          <a:srgbClr val="FFFFFF"/>
        </a:fontRef>
        <a:srgbClr val="FFFFFF"/>
      </a:tcTxStyle>
      <a:tcStyle>
        <a:tcBdr>
          <a:left>
            <a:ln w="12700" cap="flat">
              <a:solidFill>
                <a:srgbClr val="5E5E5E"/>
              </a:solidFill>
              <a:prstDash val="solid"/>
              <a:miter lim="400000"/>
            </a:ln>
          </a:left>
          <a:right>
            <a:ln w="12700" cap="flat">
              <a:solidFill>
                <a:srgbClr val="A6AAA9"/>
              </a:solidFill>
              <a:prstDash val="solid"/>
              <a:miter lim="400000"/>
            </a:ln>
          </a:right>
          <a:top>
            <a:ln w="12700" cap="flat">
              <a:solidFill>
                <a:srgbClr val="C3C3C3"/>
              </a:solidFill>
              <a:prstDash val="solid"/>
              <a:miter lim="400000"/>
            </a:ln>
          </a:top>
          <a:bottom>
            <a:ln w="12700" cap="flat">
              <a:solidFill>
                <a:srgbClr val="C3C3C3"/>
              </a:solidFill>
              <a:prstDash val="solid"/>
              <a:miter lim="400000"/>
            </a:ln>
          </a:bottom>
          <a:insideH>
            <a:ln w="12700" cap="flat">
              <a:solidFill>
                <a:srgbClr val="C3C3C3"/>
              </a:solidFill>
              <a:prstDash val="solid"/>
              <a:miter lim="400000"/>
            </a:ln>
          </a:insideH>
          <a:insideV>
            <a:ln w="12700" cap="flat">
              <a:solidFill>
                <a:srgbClr val="C3C3C3"/>
              </a:solidFill>
              <a:prstDash val="solid"/>
              <a:miter lim="400000"/>
            </a:ln>
          </a:insideV>
        </a:tcBdr>
        <a:fill>
          <a:solidFill>
            <a:srgbClr val="CB2A7B"/>
          </a:solidFill>
        </a:fill>
      </a:tcStyle>
    </a:firstCol>
    <a:lastRow>
      <a:tcTxStyle b="on" i="off">
        <a:fontRef idx="minor">
          <a:srgbClr val="000000"/>
        </a:fontRef>
        <a:srgbClr val="000000"/>
      </a:tcTxStyle>
      <a:tcStyle>
        <a:tcBdr>
          <a:left>
            <a:ln w="12700" cap="flat">
              <a:solidFill>
                <a:srgbClr val="5E5E5E"/>
              </a:solidFill>
              <a:prstDash val="solid"/>
              <a:miter lim="400000"/>
            </a:ln>
          </a:left>
          <a:right>
            <a:ln w="12700" cap="flat">
              <a:solidFill>
                <a:srgbClr val="5E5E5E"/>
              </a:solidFill>
              <a:prstDash val="solid"/>
              <a:miter lim="400000"/>
            </a:ln>
          </a:right>
          <a:top>
            <a:ln w="38100" cap="flat">
              <a:solidFill>
                <a:srgbClr val="CB297B"/>
              </a:solidFill>
              <a:prstDash val="solid"/>
              <a:miter lim="400000"/>
            </a:ln>
          </a:top>
          <a:bottom>
            <a:ln w="12700" cap="flat">
              <a:solidFill>
                <a:srgbClr val="5E5E5E"/>
              </a:solidFill>
              <a:prstDash val="solid"/>
              <a:miter lim="400000"/>
            </a:ln>
          </a:bottom>
          <a:insideH>
            <a:ln w="12700" cap="flat">
              <a:solidFill>
                <a:srgbClr val="5E5E5E"/>
              </a:solidFill>
              <a:prstDash val="solid"/>
              <a:miter lim="400000"/>
            </a:ln>
          </a:insideH>
          <a:insideV>
            <a:ln w="12700" cap="flat">
              <a:solidFill>
                <a:srgbClr val="5E5E5E"/>
              </a:solidFill>
              <a:prstDash val="solid"/>
              <a:miter lim="400000"/>
            </a:ln>
          </a:insideV>
        </a:tcBdr>
        <a:fill>
          <a:solidFill>
            <a:srgbClr val="FFFFFF"/>
          </a:solidFill>
        </a:fill>
      </a:tcStyle>
    </a:lastRow>
    <a:firstRow>
      <a:tcTxStyle b="on" i="off">
        <a:fontRef idx="minor">
          <a:srgbClr val="FFFFFF"/>
        </a:fontRef>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5E5E5E"/>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991A5F"/>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wholeTbl>
    <a:band2H>
      <a:tcTxStyle/>
      <a:tcStyle>
        <a:tcBdr/>
        <a:fill>
          <a:solidFill>
            <a:srgbClr val="EDEEEE"/>
          </a:solidFill>
        </a:fill>
      </a:tcStyle>
    </a:band2H>
    <a:firstCol>
      <a:tcTxStyle b="on" i="off">
        <a:fontRef idx="minor">
          <a:srgbClr val="000000"/>
        </a:fontRef>
        <a:srgbClr val="000000"/>
      </a:tcTxStyle>
      <a:tcStyle>
        <a:tcBdr>
          <a:left>
            <a:ln w="12700" cap="flat">
              <a:solidFill>
                <a:srgbClr val="6C6C6C"/>
              </a:solidFill>
              <a:prstDash val="solid"/>
              <a:miter lim="400000"/>
            </a:ln>
          </a:left>
          <a:right>
            <a:ln w="254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firstCol>
    <a:la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25400" cap="flat">
              <a:solidFill>
                <a:srgbClr val="000000"/>
              </a:solidFill>
              <a:prstDash val="solid"/>
              <a:miter lim="400000"/>
            </a:ln>
          </a:top>
          <a:bottom>
            <a:ln w="12700" cap="flat">
              <a:solidFill>
                <a:srgbClr val="6C6C6C"/>
              </a:solidFill>
              <a:prstDash val="solid"/>
              <a:miter lim="400000"/>
            </a:ln>
          </a:bottom>
          <a:insideH>
            <a:ln w="12700" cap="flat">
              <a:solidFill>
                <a:srgbClr val="000000"/>
              </a:solidFill>
              <a:custDash>
                <a:ds d="200000" sp="200000"/>
              </a:custDash>
              <a:miter lim="400000"/>
            </a:ln>
          </a:insideH>
          <a:insideV>
            <a:ln w="12700" cap="flat">
              <a:solidFill>
                <a:srgbClr val="000000"/>
              </a:solidFill>
              <a:prstDash val="solid"/>
              <a:miter lim="400000"/>
            </a:ln>
          </a:insideV>
        </a:tcBdr>
        <a:fill>
          <a:noFill/>
        </a:fill>
      </a:tcStyle>
    </a:lastRow>
    <a:firstRow>
      <a:tcTxStyle b="on" i="off">
        <a:fontRef idx="minor">
          <a:srgbClr val="000000"/>
        </a:fontRef>
        <a:srgbClr val="000000"/>
      </a:tcTxStyle>
      <a:tcStyle>
        <a:tcBdr>
          <a:left>
            <a:ln w="12700" cap="flat">
              <a:solidFill>
                <a:srgbClr val="000000"/>
              </a:solidFill>
              <a:prstDash val="solid"/>
              <a:miter lim="400000"/>
            </a:ln>
          </a:left>
          <a:right>
            <a:ln w="12700" cap="flat">
              <a:solidFill>
                <a:srgbClr val="000000"/>
              </a:solidFill>
              <a:prstDash val="solid"/>
              <a:miter lim="400000"/>
            </a:ln>
          </a:right>
          <a:top>
            <a:ln w="12700" cap="flat">
              <a:solidFill>
                <a:srgbClr val="6C6C6C"/>
              </a:solidFill>
              <a:prstDash val="solid"/>
              <a:miter lim="400000"/>
            </a:ln>
          </a:top>
          <a:bottom>
            <a:ln w="12700" cap="flat">
              <a:solidFill>
                <a:srgbClr val="000000"/>
              </a:solidFill>
              <a:prstDash val="solid"/>
              <a:miter lim="400000"/>
            </a:ln>
          </a:bottom>
          <a:insideH>
            <a:ln w="12700" cap="flat">
              <a:solidFill>
                <a:srgbClr val="000000"/>
              </a:solidFill>
              <a:prstDash val="solid"/>
              <a:miter lim="400000"/>
            </a:ln>
          </a:insideH>
          <a:insideV>
            <a:ln w="12700" cap="flat">
              <a:solidFill>
                <a:srgbClr val="000000"/>
              </a:solidFill>
              <a:prstDash val="solid"/>
              <a:miter lim="400000"/>
            </a:ln>
          </a:insideV>
        </a:tcBdr>
        <a:fill>
          <a:solidFill>
            <a:srgbClr val="D6DCE0"/>
          </a:solidFill>
        </a:fill>
      </a:tcStyle>
    </a:firstRow>
  </a:tblStyle>
  <a:tblStyle styleId="{5940675A-B579-460E-94D1-54222C63F5DA}" styleName="Geen stijl, tabel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Stijl, thema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5" d="100"/>
          <a:sy n="55" d="100"/>
        </p:scale>
        <p:origin x="636"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21" Type="http://schemas.openxmlformats.org/officeDocument/2006/relationships/slide" Target="slides/slide15.xml"/><Relationship Id="rId34" Type="http://schemas.openxmlformats.org/officeDocument/2006/relationships/slide" Target="slides/slide28.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notesMaster" Target="notesMasters/notesMaster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ascal van Dam" userId="b531e1f7-1442-4769-a01f-680bcf827801" providerId="ADAL" clId="{BD3EFA78-0776-42BE-A9E6-78C84182AD79}"/>
    <pc:docChg chg="undo custSel addSld delSld modSld">
      <pc:chgData name="Pascal van Dam" userId="b531e1f7-1442-4769-a01f-680bcf827801" providerId="ADAL" clId="{BD3EFA78-0776-42BE-A9E6-78C84182AD79}" dt="2023-06-13T07:32:24.164" v="116" actId="478"/>
      <pc:docMkLst>
        <pc:docMk/>
      </pc:docMkLst>
      <pc:sldChg chg="add del">
        <pc:chgData name="Pascal van Dam" userId="b531e1f7-1442-4769-a01f-680bcf827801" providerId="ADAL" clId="{BD3EFA78-0776-42BE-A9E6-78C84182AD79}" dt="2023-06-13T07:31:59.119" v="114"/>
        <pc:sldMkLst>
          <pc:docMk/>
          <pc:sldMk cId="461265326" sldId="279"/>
        </pc:sldMkLst>
      </pc:sldChg>
      <pc:sldChg chg="add del">
        <pc:chgData name="Pascal van Dam" userId="b531e1f7-1442-4769-a01f-680bcf827801" providerId="ADAL" clId="{BD3EFA78-0776-42BE-A9E6-78C84182AD79}" dt="2023-06-13T07:31:59.119" v="114"/>
        <pc:sldMkLst>
          <pc:docMk/>
          <pc:sldMk cId="3549453892" sldId="284"/>
        </pc:sldMkLst>
      </pc:sldChg>
      <pc:sldChg chg="add del">
        <pc:chgData name="Pascal van Dam" userId="b531e1f7-1442-4769-a01f-680bcf827801" providerId="ADAL" clId="{BD3EFA78-0776-42BE-A9E6-78C84182AD79}" dt="2023-06-09T12:01:10.903" v="1" actId="2890"/>
        <pc:sldMkLst>
          <pc:docMk/>
          <pc:sldMk cId="1475782802" sldId="346"/>
        </pc:sldMkLst>
      </pc:sldChg>
      <pc:sldChg chg="addSp delSp modSp new mod modTransition modClrScheme chgLayout">
        <pc:chgData name="Pascal van Dam" userId="b531e1f7-1442-4769-a01f-680bcf827801" providerId="ADAL" clId="{BD3EFA78-0776-42BE-A9E6-78C84182AD79}" dt="2023-06-09T12:14:16.377" v="100" actId="1076"/>
        <pc:sldMkLst>
          <pc:docMk/>
          <pc:sldMk cId="2610938188" sldId="346"/>
        </pc:sldMkLst>
        <pc:spChg chg="del">
          <ac:chgData name="Pascal van Dam" userId="b531e1f7-1442-4769-a01f-680bcf827801" providerId="ADAL" clId="{BD3EFA78-0776-42BE-A9E6-78C84182AD79}" dt="2023-06-09T12:04:19.033" v="23" actId="26606"/>
          <ac:spMkLst>
            <pc:docMk/>
            <pc:sldMk cId="2610938188" sldId="346"/>
            <ac:spMk id="2" creationId="{656DCFA6-438A-CE6C-8002-3991FEAE2729}"/>
          </ac:spMkLst>
        </pc:spChg>
        <pc:spChg chg="del">
          <ac:chgData name="Pascal van Dam" userId="b531e1f7-1442-4769-a01f-680bcf827801" providerId="ADAL" clId="{BD3EFA78-0776-42BE-A9E6-78C84182AD79}" dt="2023-06-09T12:04:19.033" v="23" actId="26606"/>
          <ac:spMkLst>
            <pc:docMk/>
            <pc:sldMk cId="2610938188" sldId="346"/>
            <ac:spMk id="3" creationId="{0443F868-1C9A-D239-0F2C-DECC7B96A739}"/>
          </ac:spMkLst>
        </pc:spChg>
        <pc:spChg chg="add del mod">
          <ac:chgData name="Pascal van Dam" userId="b531e1f7-1442-4769-a01f-680bcf827801" providerId="ADAL" clId="{BD3EFA78-0776-42BE-A9E6-78C84182AD79}" dt="2023-06-09T12:09:09.047" v="59" actId="26606"/>
          <ac:spMkLst>
            <pc:docMk/>
            <pc:sldMk cId="2610938188" sldId="346"/>
            <ac:spMk id="12" creationId="{0A53841C-35FC-0B05-3747-14587F472222}"/>
          </ac:spMkLst>
        </pc:spChg>
        <pc:spChg chg="add del mod">
          <ac:chgData name="Pascal van Dam" userId="b531e1f7-1442-4769-a01f-680bcf827801" providerId="ADAL" clId="{BD3EFA78-0776-42BE-A9E6-78C84182AD79}" dt="2023-06-09T12:04:22.636" v="24" actId="478"/>
          <ac:spMkLst>
            <pc:docMk/>
            <pc:sldMk cId="2610938188" sldId="346"/>
            <ac:spMk id="14" creationId="{24F943E7-CB41-1AA6-95A6-CCE6E1ED0E7C}"/>
          </ac:spMkLst>
        </pc:spChg>
        <pc:spChg chg="add del mod">
          <ac:chgData name="Pascal van Dam" userId="b531e1f7-1442-4769-a01f-680bcf827801" providerId="ADAL" clId="{BD3EFA78-0776-42BE-A9E6-78C84182AD79}" dt="2023-06-09T12:11:41.237" v="75" actId="478"/>
          <ac:spMkLst>
            <pc:docMk/>
            <pc:sldMk cId="2610938188" sldId="346"/>
            <ac:spMk id="17" creationId="{7E1202ED-A312-F8E6-B19A-1585AD7AF5F2}"/>
          </ac:spMkLst>
        </pc:spChg>
        <pc:spChg chg="add del mod">
          <ac:chgData name="Pascal van Dam" userId="b531e1f7-1442-4769-a01f-680bcf827801" providerId="ADAL" clId="{BD3EFA78-0776-42BE-A9E6-78C84182AD79}" dt="2023-06-09T12:11:39.455" v="74" actId="478"/>
          <ac:spMkLst>
            <pc:docMk/>
            <pc:sldMk cId="2610938188" sldId="346"/>
            <ac:spMk id="19" creationId="{D0CEE8DB-A596-50C8-4A3A-A36392E5FBDF}"/>
          </ac:spMkLst>
        </pc:spChg>
        <pc:picChg chg="add del mod ord">
          <ac:chgData name="Pascal van Dam" userId="b531e1f7-1442-4769-a01f-680bcf827801" providerId="ADAL" clId="{BD3EFA78-0776-42BE-A9E6-78C84182AD79}" dt="2023-06-09T12:12:56.755" v="91" actId="478"/>
          <ac:picMkLst>
            <pc:docMk/>
            <pc:sldMk cId="2610938188" sldId="346"/>
            <ac:picMk id="5" creationId="{21C5893B-EE36-F718-063B-DB0D3413C9B6}"/>
          </ac:picMkLst>
        </pc:picChg>
        <pc:picChg chg="add mod ord">
          <ac:chgData name="Pascal van Dam" userId="b531e1f7-1442-4769-a01f-680bcf827801" providerId="ADAL" clId="{BD3EFA78-0776-42BE-A9E6-78C84182AD79}" dt="2023-06-09T12:11:37.025" v="73" actId="1076"/>
          <ac:picMkLst>
            <pc:docMk/>
            <pc:sldMk cId="2610938188" sldId="346"/>
            <ac:picMk id="7" creationId="{B73315E7-AEE0-438F-5A60-3F361F53790E}"/>
          </ac:picMkLst>
        </pc:picChg>
        <pc:picChg chg="add mod">
          <ac:chgData name="Pascal van Dam" userId="b531e1f7-1442-4769-a01f-680bcf827801" providerId="ADAL" clId="{BD3EFA78-0776-42BE-A9E6-78C84182AD79}" dt="2023-06-09T12:12:39.775" v="89" actId="1076"/>
          <ac:picMkLst>
            <pc:docMk/>
            <pc:sldMk cId="2610938188" sldId="346"/>
            <ac:picMk id="9" creationId="{B4B4F237-264C-22DE-0DFC-79B892641B8E}"/>
          </ac:picMkLst>
        </pc:picChg>
        <pc:picChg chg="add del mod">
          <ac:chgData name="Pascal van Dam" userId="b531e1f7-1442-4769-a01f-680bcf827801" providerId="ADAL" clId="{BD3EFA78-0776-42BE-A9E6-78C84182AD79}" dt="2023-06-09T12:13:25.323" v="96" actId="478"/>
          <ac:picMkLst>
            <pc:docMk/>
            <pc:sldMk cId="2610938188" sldId="346"/>
            <ac:picMk id="11" creationId="{110BAB17-BD6D-D146-CA02-0EA4D79609CF}"/>
          </ac:picMkLst>
        </pc:picChg>
        <pc:picChg chg="add mod">
          <ac:chgData name="Pascal van Dam" userId="b531e1f7-1442-4769-a01f-680bcf827801" providerId="ADAL" clId="{BD3EFA78-0776-42BE-A9E6-78C84182AD79}" dt="2023-06-09T12:14:16.377" v="100" actId="1076"/>
          <ac:picMkLst>
            <pc:docMk/>
            <pc:sldMk cId="2610938188" sldId="346"/>
            <ac:picMk id="15" creationId="{702FEBE0-E61C-25D7-E7B6-82E6878960DA}"/>
          </ac:picMkLst>
        </pc:picChg>
      </pc:sldChg>
      <pc:sldChg chg="addSp delSp modSp add del mod">
        <pc:chgData name="Pascal van Dam" userId="b531e1f7-1442-4769-a01f-680bcf827801" providerId="ADAL" clId="{BD3EFA78-0776-42BE-A9E6-78C84182AD79}" dt="2023-06-09T12:01:42.144" v="9" actId="2696"/>
        <pc:sldMkLst>
          <pc:docMk/>
          <pc:sldMk cId="2999221292" sldId="346"/>
        </pc:sldMkLst>
        <pc:spChg chg="del">
          <ac:chgData name="Pascal van Dam" userId="b531e1f7-1442-4769-a01f-680bcf827801" providerId="ADAL" clId="{BD3EFA78-0776-42BE-A9E6-78C84182AD79}" dt="2023-06-09T12:01:34.181" v="7" actId="478"/>
          <ac:spMkLst>
            <pc:docMk/>
            <pc:sldMk cId="2999221292" sldId="346"/>
            <ac:spMk id="3" creationId="{6D66C201-3BD1-B3A4-4051-140B3579A24A}"/>
          </ac:spMkLst>
        </pc:spChg>
        <pc:spChg chg="add del mod">
          <ac:chgData name="Pascal van Dam" userId="b531e1f7-1442-4769-a01f-680bcf827801" providerId="ADAL" clId="{BD3EFA78-0776-42BE-A9E6-78C84182AD79}" dt="2023-06-09T12:01:26.218" v="4" actId="478"/>
          <ac:spMkLst>
            <pc:docMk/>
            <pc:sldMk cId="2999221292" sldId="346"/>
            <ac:spMk id="5" creationId="{52141AE5-966B-DC04-3071-1DC6DF0F236B}"/>
          </ac:spMkLst>
        </pc:spChg>
        <pc:spChg chg="del">
          <ac:chgData name="Pascal van Dam" userId="b531e1f7-1442-4769-a01f-680bcf827801" providerId="ADAL" clId="{BD3EFA78-0776-42BE-A9E6-78C84182AD79}" dt="2023-06-09T12:01:21.057" v="3" actId="478"/>
          <ac:spMkLst>
            <pc:docMk/>
            <pc:sldMk cId="2999221292" sldId="346"/>
            <ac:spMk id="6" creationId="{00000000-0000-0000-0000-000000000000}"/>
          </ac:spMkLst>
        </pc:spChg>
        <pc:spChg chg="del">
          <ac:chgData name="Pascal van Dam" userId="b531e1f7-1442-4769-a01f-680bcf827801" providerId="ADAL" clId="{BD3EFA78-0776-42BE-A9E6-78C84182AD79}" dt="2023-06-09T12:01:28.655" v="5" actId="478"/>
          <ac:spMkLst>
            <pc:docMk/>
            <pc:sldMk cId="2999221292" sldId="346"/>
            <ac:spMk id="7" creationId="{00000000-0000-0000-0000-000000000000}"/>
          </ac:spMkLst>
        </pc:spChg>
        <pc:spChg chg="add del mod">
          <ac:chgData name="Pascal van Dam" userId="b531e1f7-1442-4769-a01f-680bcf827801" providerId="ADAL" clId="{BD3EFA78-0776-42BE-A9E6-78C84182AD79}" dt="2023-06-09T12:01:31.958" v="6" actId="478"/>
          <ac:spMkLst>
            <pc:docMk/>
            <pc:sldMk cId="2999221292" sldId="346"/>
            <ac:spMk id="9" creationId="{39B68D7E-B511-CBB5-8ADA-69E120FD4A3D}"/>
          </ac:spMkLst>
        </pc:spChg>
        <pc:picChg chg="del">
          <ac:chgData name="Pascal van Dam" userId="b531e1f7-1442-4769-a01f-680bcf827801" providerId="ADAL" clId="{BD3EFA78-0776-42BE-A9E6-78C84182AD79}" dt="2023-06-09T12:01:35.566" v="8" actId="478"/>
          <ac:picMkLst>
            <pc:docMk/>
            <pc:sldMk cId="2999221292" sldId="346"/>
            <ac:picMk id="1028" creationId="{B7FF0BA0-F61D-FABC-493A-B58DE6721CFA}"/>
          </ac:picMkLst>
        </pc:picChg>
      </pc:sldChg>
      <pc:sldChg chg="addSp delSp modSp add mod modClrScheme chgLayout">
        <pc:chgData name="Pascal van Dam" userId="b531e1f7-1442-4769-a01f-680bcf827801" providerId="ADAL" clId="{BD3EFA78-0776-42BE-A9E6-78C84182AD79}" dt="2023-06-12T14:26:32.737" v="105" actId="14100"/>
        <pc:sldMkLst>
          <pc:docMk/>
          <pc:sldMk cId="1044050009" sldId="347"/>
        </pc:sldMkLst>
        <pc:spChg chg="del">
          <ac:chgData name="Pascal van Dam" userId="b531e1f7-1442-4769-a01f-680bcf827801" providerId="ADAL" clId="{BD3EFA78-0776-42BE-A9E6-78C84182AD79}" dt="2023-06-09T12:09:19.229" v="60" actId="26606"/>
          <ac:spMkLst>
            <pc:docMk/>
            <pc:sldMk cId="1044050009" sldId="347"/>
            <ac:spMk id="12" creationId="{0A53841C-35FC-0B05-3747-14587F472222}"/>
          </ac:spMkLst>
        </pc:spChg>
        <pc:spChg chg="add del mod">
          <ac:chgData name="Pascal van Dam" userId="b531e1f7-1442-4769-a01f-680bcf827801" providerId="ADAL" clId="{BD3EFA78-0776-42BE-A9E6-78C84182AD79}" dt="2023-06-09T12:11:47.553" v="77" actId="478"/>
          <ac:spMkLst>
            <pc:docMk/>
            <pc:sldMk cId="1044050009" sldId="347"/>
            <ac:spMk id="17" creationId="{F71B7265-917F-98E0-2FB5-FABED022ABDC}"/>
          </ac:spMkLst>
        </pc:spChg>
        <pc:spChg chg="add del mod">
          <ac:chgData name="Pascal van Dam" userId="b531e1f7-1442-4769-a01f-680bcf827801" providerId="ADAL" clId="{BD3EFA78-0776-42BE-A9E6-78C84182AD79}" dt="2023-06-09T12:11:45.869" v="76" actId="478"/>
          <ac:spMkLst>
            <pc:docMk/>
            <pc:sldMk cId="1044050009" sldId="347"/>
            <ac:spMk id="19" creationId="{45AF9439-D570-39ED-34AD-D82D6607EE09}"/>
          </ac:spMkLst>
        </pc:spChg>
        <pc:picChg chg="add mod">
          <ac:chgData name="Pascal van Dam" userId="b531e1f7-1442-4769-a01f-680bcf827801" providerId="ADAL" clId="{BD3EFA78-0776-42BE-A9E6-78C84182AD79}" dt="2023-06-12T14:26:32.737" v="105" actId="14100"/>
          <ac:picMkLst>
            <pc:docMk/>
            <pc:sldMk cId="1044050009" sldId="347"/>
            <ac:picMk id="3" creationId="{595F34CD-DA09-1BED-9A9F-C83F6F921423}"/>
          </ac:picMkLst>
        </pc:picChg>
        <pc:picChg chg="add del">
          <ac:chgData name="Pascal van Dam" userId="b531e1f7-1442-4769-a01f-680bcf827801" providerId="ADAL" clId="{BD3EFA78-0776-42BE-A9E6-78C84182AD79}" dt="2023-06-09T12:07:28.678" v="37" actId="478"/>
          <ac:picMkLst>
            <pc:docMk/>
            <pc:sldMk cId="1044050009" sldId="347"/>
            <ac:picMk id="3" creationId="{84D66E6F-4D93-5A93-E35A-82627787C87A}"/>
          </ac:picMkLst>
        </pc:picChg>
        <pc:picChg chg="del">
          <ac:chgData name="Pascal van Dam" userId="b531e1f7-1442-4769-a01f-680bcf827801" providerId="ADAL" clId="{BD3EFA78-0776-42BE-A9E6-78C84182AD79}" dt="2023-06-09T12:04:54.722" v="34" actId="478"/>
          <ac:picMkLst>
            <pc:docMk/>
            <pc:sldMk cId="1044050009" sldId="347"/>
            <ac:picMk id="5" creationId="{21C5893B-EE36-F718-063B-DB0D3413C9B6}"/>
          </ac:picMkLst>
        </pc:picChg>
        <pc:picChg chg="add mod">
          <ac:chgData name="Pascal van Dam" userId="b531e1f7-1442-4769-a01f-680bcf827801" providerId="ADAL" clId="{BD3EFA78-0776-42BE-A9E6-78C84182AD79}" dt="2023-06-09T12:11:51.735" v="78" actId="14100"/>
          <ac:picMkLst>
            <pc:docMk/>
            <pc:sldMk cId="1044050009" sldId="347"/>
            <ac:picMk id="6" creationId="{451917B4-B082-3E69-66B7-59BECF51057E}"/>
          </ac:picMkLst>
        </pc:picChg>
        <pc:picChg chg="del">
          <ac:chgData name="Pascal van Dam" userId="b531e1f7-1442-4769-a01f-680bcf827801" providerId="ADAL" clId="{BD3EFA78-0776-42BE-A9E6-78C84182AD79}" dt="2023-06-09T12:04:56.075" v="35" actId="478"/>
          <ac:picMkLst>
            <pc:docMk/>
            <pc:sldMk cId="1044050009" sldId="347"/>
            <ac:picMk id="7" creationId="{B73315E7-AEE0-438F-5A60-3F361F53790E}"/>
          </ac:picMkLst>
        </pc:picChg>
        <pc:picChg chg="add del mod">
          <ac:chgData name="Pascal van Dam" userId="b531e1f7-1442-4769-a01f-680bcf827801" providerId="ADAL" clId="{BD3EFA78-0776-42BE-A9E6-78C84182AD79}" dt="2023-06-09T12:08:42.084" v="53" actId="478"/>
          <ac:picMkLst>
            <pc:docMk/>
            <pc:sldMk cId="1044050009" sldId="347"/>
            <ac:picMk id="9" creationId="{91AC40AD-948F-EE08-04EB-F66EE29EF263}"/>
          </ac:picMkLst>
        </pc:picChg>
        <pc:picChg chg="add del mod">
          <ac:chgData name="Pascal van Dam" userId="b531e1f7-1442-4769-a01f-680bcf827801" providerId="ADAL" clId="{BD3EFA78-0776-42BE-A9E6-78C84182AD79}" dt="2023-06-12T14:26:27.633" v="102" actId="478"/>
          <ac:picMkLst>
            <pc:docMk/>
            <pc:sldMk cId="1044050009" sldId="347"/>
            <ac:picMk id="11" creationId="{3214BE45-0AFD-7191-B9D9-C0640E08A2AD}"/>
          </ac:picMkLst>
        </pc:picChg>
        <pc:picChg chg="add mod">
          <ac:chgData name="Pascal van Dam" userId="b531e1f7-1442-4769-a01f-680bcf827801" providerId="ADAL" clId="{BD3EFA78-0776-42BE-A9E6-78C84182AD79}" dt="2023-06-09T12:12:36.763" v="88" actId="1076"/>
          <ac:picMkLst>
            <pc:docMk/>
            <pc:sldMk cId="1044050009" sldId="347"/>
            <ac:picMk id="14" creationId="{B0E480C3-222A-C542-66D9-B3906EC04A01}"/>
          </ac:picMkLst>
        </pc:picChg>
      </pc:sldChg>
      <pc:sldChg chg="addSp delSp modSp add del mod">
        <pc:chgData name="Pascal van Dam" userId="b531e1f7-1442-4769-a01f-680bcf827801" providerId="ADAL" clId="{BD3EFA78-0776-42BE-A9E6-78C84182AD79}" dt="2023-06-09T12:02:06.530" v="16" actId="47"/>
        <pc:sldMkLst>
          <pc:docMk/>
          <pc:sldMk cId="3643727728" sldId="347"/>
        </pc:sldMkLst>
        <pc:spChg chg="add del">
          <ac:chgData name="Pascal van Dam" userId="b531e1f7-1442-4769-a01f-680bcf827801" providerId="ADAL" clId="{BD3EFA78-0776-42BE-A9E6-78C84182AD79}" dt="2023-06-09T12:02:04.854" v="15" actId="478"/>
          <ac:spMkLst>
            <pc:docMk/>
            <pc:sldMk cId="3643727728" sldId="347"/>
            <ac:spMk id="3" creationId="{F7385D22-0273-4FA5-BDC5-FFB330AA5C0F}"/>
          </ac:spMkLst>
        </pc:spChg>
        <pc:spChg chg="add del mod">
          <ac:chgData name="Pascal van Dam" userId="b531e1f7-1442-4769-a01f-680bcf827801" providerId="ADAL" clId="{BD3EFA78-0776-42BE-A9E6-78C84182AD79}" dt="2023-06-09T12:01:58.796" v="13" actId="478"/>
          <ac:spMkLst>
            <pc:docMk/>
            <pc:sldMk cId="3643727728" sldId="347"/>
            <ac:spMk id="6" creationId="{C25E88F4-37C7-D3BE-7478-A72BF5BDFC94}"/>
          </ac:spMkLst>
        </pc:spChg>
        <pc:picChg chg="del">
          <ac:chgData name="Pascal van Dam" userId="b531e1f7-1442-4769-a01f-680bcf827801" providerId="ADAL" clId="{BD3EFA78-0776-42BE-A9E6-78C84182AD79}" dt="2023-06-09T12:01:57.476" v="12" actId="478"/>
          <ac:picMkLst>
            <pc:docMk/>
            <pc:sldMk cId="3643727728" sldId="347"/>
            <ac:picMk id="14" creationId="{D41562EF-E523-45C9-A71A-7C41DD98FCCC}"/>
          </ac:picMkLst>
        </pc:picChg>
      </pc:sldChg>
      <pc:sldChg chg="addSp delSp modSp add mod">
        <pc:chgData name="Pascal van Dam" userId="b531e1f7-1442-4769-a01f-680bcf827801" providerId="ADAL" clId="{BD3EFA78-0776-42BE-A9E6-78C84182AD79}" dt="2023-06-09T12:12:32.063" v="87" actId="1076"/>
        <pc:sldMkLst>
          <pc:docMk/>
          <pc:sldMk cId="2076074113" sldId="348"/>
        </pc:sldMkLst>
        <pc:spChg chg="del">
          <ac:chgData name="Pascal van Dam" userId="b531e1f7-1442-4769-a01f-680bcf827801" providerId="ADAL" clId="{BD3EFA78-0776-42BE-A9E6-78C84182AD79}" dt="2023-06-09T12:12:05.462" v="81" actId="478"/>
          <ac:spMkLst>
            <pc:docMk/>
            <pc:sldMk cId="2076074113" sldId="348"/>
            <ac:spMk id="17" creationId="{F71B7265-917F-98E0-2FB5-FABED022ABDC}"/>
          </ac:spMkLst>
        </pc:spChg>
        <pc:spChg chg="del">
          <ac:chgData name="Pascal van Dam" userId="b531e1f7-1442-4769-a01f-680bcf827801" providerId="ADAL" clId="{BD3EFA78-0776-42BE-A9E6-78C84182AD79}" dt="2023-06-09T12:12:02.797" v="80" actId="478"/>
          <ac:spMkLst>
            <pc:docMk/>
            <pc:sldMk cId="2076074113" sldId="348"/>
            <ac:spMk id="19" creationId="{45AF9439-D570-39ED-34AD-D82D6607EE09}"/>
          </ac:spMkLst>
        </pc:spChg>
        <pc:picChg chg="add mod">
          <ac:chgData name="Pascal van Dam" userId="b531e1f7-1442-4769-a01f-680bcf827801" providerId="ADAL" clId="{BD3EFA78-0776-42BE-A9E6-78C84182AD79}" dt="2023-06-09T12:09:58.626" v="64" actId="1076"/>
          <ac:picMkLst>
            <pc:docMk/>
            <pc:sldMk cId="2076074113" sldId="348"/>
            <ac:picMk id="3" creationId="{28F51430-B818-97CA-E936-32D2DA62B5E6}"/>
          </ac:picMkLst>
        </pc:picChg>
        <pc:picChg chg="add mod">
          <ac:chgData name="Pascal van Dam" userId="b531e1f7-1442-4769-a01f-680bcf827801" providerId="ADAL" clId="{BD3EFA78-0776-42BE-A9E6-78C84182AD79}" dt="2023-06-09T12:10:42.548" v="67" actId="1076"/>
          <ac:picMkLst>
            <pc:docMk/>
            <pc:sldMk cId="2076074113" sldId="348"/>
            <ac:picMk id="5" creationId="{2013E2B3-1B4A-8088-AF86-38E63D68E885}"/>
          </ac:picMkLst>
        </pc:picChg>
        <pc:picChg chg="del">
          <ac:chgData name="Pascal van Dam" userId="b531e1f7-1442-4769-a01f-680bcf827801" providerId="ADAL" clId="{BD3EFA78-0776-42BE-A9E6-78C84182AD79}" dt="2023-06-09T12:09:56.677" v="62" actId="478"/>
          <ac:picMkLst>
            <pc:docMk/>
            <pc:sldMk cId="2076074113" sldId="348"/>
            <ac:picMk id="6" creationId="{451917B4-B082-3E69-66B7-59BECF51057E}"/>
          </ac:picMkLst>
        </pc:picChg>
        <pc:picChg chg="add mod">
          <ac:chgData name="Pascal van Dam" userId="b531e1f7-1442-4769-a01f-680bcf827801" providerId="ADAL" clId="{BD3EFA78-0776-42BE-A9E6-78C84182AD79}" dt="2023-06-09T12:12:32.063" v="87" actId="1076"/>
          <ac:picMkLst>
            <pc:docMk/>
            <pc:sldMk cId="2076074113" sldId="348"/>
            <ac:picMk id="8" creationId="{83E9ECCC-54AC-14BE-61BC-78AB3C5FEE2E}"/>
          </ac:picMkLst>
        </pc:picChg>
        <pc:picChg chg="del">
          <ac:chgData name="Pascal van Dam" userId="b531e1f7-1442-4769-a01f-680bcf827801" providerId="ADAL" clId="{BD3EFA78-0776-42BE-A9E6-78C84182AD79}" dt="2023-06-09T12:09:59.748" v="65" actId="478"/>
          <ac:picMkLst>
            <pc:docMk/>
            <pc:sldMk cId="2076074113" sldId="348"/>
            <ac:picMk id="11" creationId="{3214BE45-0AFD-7191-B9D9-C0640E08A2AD}"/>
          </ac:picMkLst>
        </pc:picChg>
      </pc:sldChg>
      <pc:sldChg chg="delSp add del mod">
        <pc:chgData name="Pascal van Dam" userId="b531e1f7-1442-4769-a01f-680bcf827801" providerId="ADAL" clId="{BD3EFA78-0776-42BE-A9E6-78C84182AD79}" dt="2023-06-09T12:14:24.378" v="101" actId="47"/>
        <pc:sldMkLst>
          <pc:docMk/>
          <pc:sldMk cId="4190849056" sldId="349"/>
        </pc:sldMkLst>
        <pc:picChg chg="del">
          <ac:chgData name="Pascal van Dam" userId="b531e1f7-1442-4769-a01f-680bcf827801" providerId="ADAL" clId="{BD3EFA78-0776-42BE-A9E6-78C84182AD79}" dt="2023-06-09T12:10:50.487" v="69" actId="478"/>
          <ac:picMkLst>
            <pc:docMk/>
            <pc:sldMk cId="4190849056" sldId="349"/>
            <ac:picMk id="3" creationId="{28F51430-B818-97CA-E936-32D2DA62B5E6}"/>
          </ac:picMkLst>
        </pc:picChg>
        <pc:picChg chg="del">
          <ac:chgData name="Pascal van Dam" userId="b531e1f7-1442-4769-a01f-680bcf827801" providerId="ADAL" clId="{BD3EFA78-0776-42BE-A9E6-78C84182AD79}" dt="2023-06-09T12:10:51.726" v="70" actId="478"/>
          <ac:picMkLst>
            <pc:docMk/>
            <pc:sldMk cId="4190849056" sldId="349"/>
            <ac:picMk id="5" creationId="{2013E2B3-1B4A-8088-AF86-38E63D68E885}"/>
          </ac:picMkLst>
        </pc:picChg>
      </pc:sldChg>
      <pc:sldChg chg="add del">
        <pc:chgData name="Pascal van Dam" userId="b531e1f7-1442-4769-a01f-680bcf827801" providerId="ADAL" clId="{BD3EFA78-0776-42BE-A9E6-78C84182AD79}" dt="2023-06-13T07:31:59.119" v="114"/>
        <pc:sldMkLst>
          <pc:docMk/>
          <pc:sldMk cId="2144968009" sldId="2349"/>
        </pc:sldMkLst>
      </pc:sldChg>
      <pc:sldChg chg="add del">
        <pc:chgData name="Pascal van Dam" userId="b531e1f7-1442-4769-a01f-680bcf827801" providerId="ADAL" clId="{BD3EFA78-0776-42BE-A9E6-78C84182AD79}" dt="2023-06-13T07:31:59.119" v="114"/>
        <pc:sldMkLst>
          <pc:docMk/>
          <pc:sldMk cId="4025836464" sldId="2412"/>
        </pc:sldMkLst>
      </pc:sldChg>
      <pc:sldChg chg="delSp add del mod">
        <pc:chgData name="Pascal van Dam" userId="b531e1f7-1442-4769-a01f-680bcf827801" providerId="ADAL" clId="{BD3EFA78-0776-42BE-A9E6-78C84182AD79}" dt="2023-06-13T07:32:14.006" v="115" actId="478"/>
        <pc:sldMkLst>
          <pc:docMk/>
          <pc:sldMk cId="631360145" sldId="2413"/>
        </pc:sldMkLst>
        <pc:spChg chg="del">
          <ac:chgData name="Pascal van Dam" userId="b531e1f7-1442-4769-a01f-680bcf827801" providerId="ADAL" clId="{BD3EFA78-0776-42BE-A9E6-78C84182AD79}" dt="2023-06-13T07:32:14.006" v="115" actId="478"/>
          <ac:spMkLst>
            <pc:docMk/>
            <pc:sldMk cId="631360145" sldId="2413"/>
            <ac:spMk id="3" creationId="{606003B8-E902-6471-CA6B-1C616C6C3191}"/>
          </ac:spMkLst>
        </pc:spChg>
      </pc:sldChg>
      <pc:sldChg chg="add del">
        <pc:chgData name="Pascal van Dam" userId="b531e1f7-1442-4769-a01f-680bcf827801" providerId="ADAL" clId="{BD3EFA78-0776-42BE-A9E6-78C84182AD79}" dt="2023-06-13T07:31:59.119" v="114"/>
        <pc:sldMkLst>
          <pc:docMk/>
          <pc:sldMk cId="1989305935" sldId="2465"/>
        </pc:sldMkLst>
      </pc:sldChg>
      <pc:sldChg chg="add del">
        <pc:chgData name="Pascal van Dam" userId="b531e1f7-1442-4769-a01f-680bcf827801" providerId="ADAL" clId="{BD3EFA78-0776-42BE-A9E6-78C84182AD79}" dt="2023-06-13T07:31:59.119" v="114"/>
        <pc:sldMkLst>
          <pc:docMk/>
          <pc:sldMk cId="480017687" sldId="2528"/>
        </pc:sldMkLst>
      </pc:sldChg>
      <pc:sldChg chg="modSp add del mod">
        <pc:chgData name="Pascal van Dam" userId="b531e1f7-1442-4769-a01f-680bcf827801" providerId="ADAL" clId="{BD3EFA78-0776-42BE-A9E6-78C84182AD79}" dt="2023-06-13T07:31:59.119" v="114"/>
        <pc:sldMkLst>
          <pc:docMk/>
          <pc:sldMk cId="3394342142" sldId="2530"/>
        </pc:sldMkLst>
        <pc:spChg chg="mod">
          <ac:chgData name="Pascal van Dam" userId="b531e1f7-1442-4769-a01f-680bcf827801" providerId="ADAL" clId="{BD3EFA78-0776-42BE-A9E6-78C84182AD79}" dt="2023-06-13T07:31:59.022" v="113"/>
          <ac:spMkLst>
            <pc:docMk/>
            <pc:sldMk cId="3394342142" sldId="2530"/>
            <ac:spMk id="3" creationId="{CDA8D7D0-48B5-E203-3484-B8DF34202D85}"/>
          </ac:spMkLst>
        </pc:spChg>
      </pc:sldChg>
      <pc:sldChg chg="add del">
        <pc:chgData name="Pascal van Dam" userId="b531e1f7-1442-4769-a01f-680bcf827801" providerId="ADAL" clId="{BD3EFA78-0776-42BE-A9E6-78C84182AD79}" dt="2023-06-13T07:31:59.119" v="114"/>
        <pc:sldMkLst>
          <pc:docMk/>
          <pc:sldMk cId="3244523695" sldId="2532"/>
        </pc:sldMkLst>
      </pc:sldChg>
      <pc:sldChg chg="add del">
        <pc:chgData name="Pascal van Dam" userId="b531e1f7-1442-4769-a01f-680bcf827801" providerId="ADAL" clId="{BD3EFA78-0776-42BE-A9E6-78C84182AD79}" dt="2023-06-13T07:31:59.119" v="114"/>
        <pc:sldMkLst>
          <pc:docMk/>
          <pc:sldMk cId="1792842900" sldId="2533"/>
        </pc:sldMkLst>
      </pc:sldChg>
      <pc:sldChg chg="add del">
        <pc:chgData name="Pascal van Dam" userId="b531e1f7-1442-4769-a01f-680bcf827801" providerId="ADAL" clId="{BD3EFA78-0776-42BE-A9E6-78C84182AD79}" dt="2023-06-13T07:31:59.119" v="114"/>
        <pc:sldMkLst>
          <pc:docMk/>
          <pc:sldMk cId="1221175718" sldId="2534"/>
        </pc:sldMkLst>
      </pc:sldChg>
      <pc:sldChg chg="add del">
        <pc:chgData name="Pascal van Dam" userId="b531e1f7-1442-4769-a01f-680bcf827801" providerId="ADAL" clId="{BD3EFA78-0776-42BE-A9E6-78C84182AD79}" dt="2023-06-13T07:31:59.119" v="114"/>
        <pc:sldMkLst>
          <pc:docMk/>
          <pc:sldMk cId="1613070040" sldId="2535"/>
        </pc:sldMkLst>
      </pc:sldChg>
      <pc:sldChg chg="add del">
        <pc:chgData name="Pascal van Dam" userId="b531e1f7-1442-4769-a01f-680bcf827801" providerId="ADAL" clId="{BD3EFA78-0776-42BE-A9E6-78C84182AD79}" dt="2023-06-13T07:31:59.119" v="114"/>
        <pc:sldMkLst>
          <pc:docMk/>
          <pc:sldMk cId="4241208136" sldId="2536"/>
        </pc:sldMkLst>
      </pc:sldChg>
      <pc:sldChg chg="add del">
        <pc:chgData name="Pascal van Dam" userId="b531e1f7-1442-4769-a01f-680bcf827801" providerId="ADAL" clId="{BD3EFA78-0776-42BE-A9E6-78C84182AD79}" dt="2023-06-13T07:31:59.119" v="114"/>
        <pc:sldMkLst>
          <pc:docMk/>
          <pc:sldMk cId="1126729259" sldId="2537"/>
        </pc:sldMkLst>
      </pc:sldChg>
      <pc:sldChg chg="delSp add del mod">
        <pc:chgData name="Pascal van Dam" userId="b531e1f7-1442-4769-a01f-680bcf827801" providerId="ADAL" clId="{BD3EFA78-0776-42BE-A9E6-78C84182AD79}" dt="2023-06-13T07:32:24.164" v="116" actId="478"/>
        <pc:sldMkLst>
          <pc:docMk/>
          <pc:sldMk cId="1428377414" sldId="2669"/>
        </pc:sldMkLst>
        <pc:spChg chg="del">
          <ac:chgData name="Pascal van Dam" userId="b531e1f7-1442-4769-a01f-680bcf827801" providerId="ADAL" clId="{BD3EFA78-0776-42BE-A9E6-78C84182AD79}" dt="2023-06-13T07:32:24.164" v="116" actId="478"/>
          <ac:spMkLst>
            <pc:docMk/>
            <pc:sldMk cId="1428377414" sldId="2669"/>
            <ac:spMk id="3" creationId="{606003B8-E902-6471-CA6B-1C616C6C3191}"/>
          </ac:spMkLst>
        </pc:spChg>
      </pc:sldChg>
    </pc:docChg>
  </pc:docChgLst>
  <pc:docChgLst>
    <pc:chgData name="Charlotte Derksen" userId="c809a752-6182-4d31-af0a-c8ef6f12b0b6" providerId="ADAL" clId="{7A5E5DA2-2AEF-4D69-B784-E2C443C71D5D}"/>
    <pc:docChg chg="modSld">
      <pc:chgData name="Charlotte Derksen" userId="c809a752-6182-4d31-af0a-c8ef6f12b0b6" providerId="ADAL" clId="{7A5E5DA2-2AEF-4D69-B784-E2C443C71D5D}" dt="2023-06-06T13:31:54.092" v="142" actId="20577"/>
      <pc:docMkLst>
        <pc:docMk/>
      </pc:docMkLst>
      <pc:sldChg chg="modSp mod">
        <pc:chgData name="Charlotte Derksen" userId="c809a752-6182-4d31-af0a-c8ef6f12b0b6" providerId="ADAL" clId="{7A5E5DA2-2AEF-4D69-B784-E2C443C71D5D}" dt="2023-06-06T13:31:54.092" v="142" actId="20577"/>
        <pc:sldMkLst>
          <pc:docMk/>
          <pc:sldMk cId="2950489833" sldId="340"/>
        </pc:sldMkLst>
        <pc:spChg chg="mod">
          <ac:chgData name="Charlotte Derksen" userId="c809a752-6182-4d31-af0a-c8ef6f12b0b6" providerId="ADAL" clId="{7A5E5DA2-2AEF-4D69-B784-E2C443C71D5D}" dt="2023-06-06T13:31:54.092" v="142" actId="20577"/>
          <ac:spMkLst>
            <pc:docMk/>
            <pc:sldMk cId="2950489833" sldId="340"/>
            <ac:spMk id="3" creationId="{C588FB49-BF41-EA03-219F-479DF1D2E89E}"/>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8" name="Shape 148"/>
          <p:cNvSpPr>
            <a:spLocks noGrp="1" noRot="1" noChangeAspect="1"/>
          </p:cNvSpPr>
          <p:nvPr>
            <p:ph type="sldImg"/>
          </p:nvPr>
        </p:nvSpPr>
        <p:spPr>
          <a:xfrm>
            <a:off x="1143000" y="685800"/>
            <a:ext cx="4572000" cy="3429000"/>
          </a:xfrm>
          <a:prstGeom prst="rect">
            <a:avLst/>
          </a:prstGeom>
        </p:spPr>
        <p:txBody>
          <a:bodyPr/>
          <a:lstStyle/>
          <a:p>
            <a:endParaRPr/>
          </a:p>
        </p:txBody>
      </p:sp>
      <p:sp>
        <p:nvSpPr>
          <p:cNvPr id="149" name="Shape 149"/>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457200" latinLnBrk="0">
      <a:lnSpc>
        <a:spcPct val="117999"/>
      </a:lnSpc>
      <a:defRPr sz="2200">
        <a:latin typeface="Source Sans Pro" panose="020B0503030403020204" pitchFamily="34" charset="0"/>
        <a:ea typeface="Source Sans Pro" panose="020B0503030403020204" pitchFamily="34" charset="0"/>
        <a:cs typeface="+mn-cs"/>
        <a:sym typeface="Helvetica Neue"/>
      </a:defRPr>
    </a:lvl1pPr>
    <a:lvl2pPr indent="228600" defTabSz="457200" latinLnBrk="0">
      <a:lnSpc>
        <a:spcPct val="117999"/>
      </a:lnSpc>
      <a:defRPr sz="2200">
        <a:latin typeface="+mn-lt"/>
        <a:ea typeface="+mn-ea"/>
        <a:cs typeface="+mn-cs"/>
        <a:sym typeface="Helvetica Neue"/>
      </a:defRPr>
    </a:lvl2pPr>
    <a:lvl3pPr indent="457200" defTabSz="457200" latinLnBrk="0">
      <a:lnSpc>
        <a:spcPct val="117999"/>
      </a:lnSpc>
      <a:defRPr sz="2200">
        <a:latin typeface="+mn-lt"/>
        <a:ea typeface="+mn-ea"/>
        <a:cs typeface="+mn-cs"/>
        <a:sym typeface="Helvetica Neue"/>
      </a:defRPr>
    </a:lvl3pPr>
    <a:lvl4pPr indent="685800" defTabSz="457200" latinLnBrk="0">
      <a:lnSpc>
        <a:spcPct val="117999"/>
      </a:lnSpc>
      <a:defRPr sz="2200">
        <a:latin typeface="+mn-lt"/>
        <a:ea typeface="+mn-ea"/>
        <a:cs typeface="+mn-cs"/>
        <a:sym typeface="Helvetica Neue"/>
      </a:defRPr>
    </a:lvl4pPr>
    <a:lvl5pPr indent="914400" defTabSz="457200" latinLnBrk="0">
      <a:lnSpc>
        <a:spcPct val="117999"/>
      </a:lnSpc>
      <a:defRPr sz="2200">
        <a:latin typeface="+mn-lt"/>
        <a:ea typeface="+mn-ea"/>
        <a:cs typeface="+mn-cs"/>
        <a:sym typeface="Helvetica Neue"/>
      </a:defRPr>
    </a:lvl5pPr>
    <a:lvl6pPr indent="1143000" defTabSz="457200" latinLnBrk="0">
      <a:lnSpc>
        <a:spcPct val="117999"/>
      </a:lnSpc>
      <a:defRPr sz="2200">
        <a:latin typeface="+mn-lt"/>
        <a:ea typeface="+mn-ea"/>
        <a:cs typeface="+mn-cs"/>
        <a:sym typeface="Helvetica Neue"/>
      </a:defRPr>
    </a:lvl6pPr>
    <a:lvl7pPr indent="1371600" defTabSz="457200" latinLnBrk="0">
      <a:lnSpc>
        <a:spcPct val="117999"/>
      </a:lnSpc>
      <a:defRPr sz="2200">
        <a:latin typeface="+mn-lt"/>
        <a:ea typeface="+mn-ea"/>
        <a:cs typeface="+mn-cs"/>
        <a:sym typeface="Helvetica Neue"/>
      </a:defRPr>
    </a:lvl7pPr>
    <a:lvl8pPr indent="1600200" defTabSz="457200" latinLnBrk="0">
      <a:lnSpc>
        <a:spcPct val="117999"/>
      </a:lnSpc>
      <a:defRPr sz="2200">
        <a:latin typeface="+mn-lt"/>
        <a:ea typeface="+mn-ea"/>
        <a:cs typeface="+mn-cs"/>
        <a:sym typeface="Helvetica Neue"/>
      </a:defRPr>
    </a:lvl8pPr>
    <a:lvl9pPr indent="1828800" defTabSz="457200" latinLnBrk="0">
      <a:lnSpc>
        <a:spcPct val="117999"/>
      </a:lnSpc>
      <a:defRPr sz="2200">
        <a:latin typeface="+mn-lt"/>
        <a:ea typeface="+mn-ea"/>
        <a:cs typeface="+mn-cs"/>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33FEF1-1D15-4C39-8296-36B1CE2CFC4A}"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5555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800" dirty="0">
                <a:effectLst/>
                <a:latin typeface="Campton Light" panose="00000400000000000000" pitchFamily="50" charset="0"/>
                <a:ea typeface="Calibri" panose="020F0502020204030204" pitchFamily="34" charset="0"/>
                <a:cs typeface="Times New Roman" panose="02020603050405020304" pitchFamily="18" charset="0"/>
              </a:rPr>
              <a:t>doorbraakprojecten te financieren en niet reguliere innovatieprojecten, stellen wij dan ook voor </a:t>
            </a:r>
            <a:r>
              <a:rPr lang="nl-NL" sz="1800" b="1" u="sng" dirty="0">
                <a:effectLst/>
                <a:latin typeface="Campton Light" panose="00000400000000000000" pitchFamily="50" charset="0"/>
                <a:ea typeface="Calibri" panose="020F0502020204030204" pitchFamily="34" charset="0"/>
                <a:cs typeface="Times New Roman" panose="02020603050405020304" pitchFamily="18" charset="0"/>
              </a:rPr>
              <a:t>de beoordeling van de radicaliteit als uitsluitingscriterium</a:t>
            </a:r>
            <a:r>
              <a:rPr lang="nl-NL" sz="1800" dirty="0">
                <a:effectLst/>
                <a:latin typeface="Campton Light" panose="00000400000000000000" pitchFamily="50" charset="0"/>
                <a:ea typeface="Calibri" panose="020F0502020204030204" pitchFamily="34" charset="0"/>
                <a:cs typeface="Times New Roman" panose="02020603050405020304" pitchFamily="18" charset="0"/>
              </a:rPr>
              <a:t> op te nemen. Na de radicaliteit met elkaar besproken te hebben volgt dus een beslissing: zien wij voldoende doorbraakpotentie om hiermee door te gaan? Alleen wanneer dit antwoord positief is, is het zinvol om de volgende stap te zetten en ook te kijken naar de verschillende typen impact. Hierbij benadrukken we dat een initiatief niet per se op alle drie dimensies zeer radicaal hoeft te zijn om door te gaan – belangrijk is dat er voldoende doorbraakpotentie is voor minstens één dimensie. </a:t>
            </a:r>
          </a:p>
          <a:p>
            <a:endParaRPr lang="nl-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B2901E-1CDC-4EFF-91E1-E691A5D5E00F}"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63861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noProof="0" dirty="0" err="1"/>
              <a:t>Kritiek</a:t>
            </a:r>
            <a:r>
              <a:rPr lang="en-US" noProof="0" dirty="0"/>
              <a:t> is </a:t>
            </a:r>
            <a:r>
              <a:rPr lang="en-US" noProof="0" dirty="0" err="1"/>
              <a:t>makkelijk</a:t>
            </a:r>
            <a:r>
              <a:rPr lang="en-US" noProof="0" dirty="0"/>
              <a:t>, </a:t>
            </a:r>
            <a:r>
              <a:rPr lang="en-US" noProof="0" dirty="0" err="1"/>
              <a:t>tegelijkertijd</a:t>
            </a:r>
            <a:r>
              <a:rPr lang="en-US" noProof="0" dirty="0"/>
              <a:t> </a:t>
            </a:r>
            <a:r>
              <a:rPr lang="en-US" noProof="0" dirty="0" err="1"/>
              <a:t>niet</a:t>
            </a:r>
            <a:r>
              <a:rPr lang="en-US" noProof="0" dirty="0"/>
              <a:t> </a:t>
            </a:r>
            <a:r>
              <a:rPr lang="en-US" noProof="0" dirty="0" err="1"/>
              <a:t>meelopen</a:t>
            </a:r>
            <a:r>
              <a:rPr lang="en-US" noProof="0" dirty="0"/>
              <a:t> met </a:t>
            </a:r>
            <a:r>
              <a:rPr lang="en-US" noProof="0" dirty="0" err="1"/>
              <a:t>allerlei</a:t>
            </a:r>
            <a:r>
              <a:rPr lang="en-US" noProof="0" dirty="0"/>
              <a:t> hypes</a:t>
            </a:r>
          </a:p>
          <a:p>
            <a:r>
              <a:rPr lang="en-US" noProof="0" dirty="0" err="1"/>
              <a:t>Evenwicht</a:t>
            </a:r>
            <a:r>
              <a:rPr lang="en-US" noProof="0" dirty="0"/>
              <a:t> </a:t>
            </a:r>
            <a:r>
              <a:rPr lang="en-US" noProof="0" dirty="0" err="1"/>
              <a:t>aanbrengen</a:t>
            </a:r>
            <a:endParaRPr lang="en-US" noProof="0" dirty="0"/>
          </a:p>
          <a:p>
            <a:r>
              <a:rPr lang="en-US" noProof="0" dirty="0"/>
              <a:t>Plus </a:t>
            </a:r>
            <a:r>
              <a:rPr lang="en-US" noProof="0" dirty="0" err="1"/>
              <a:t>altijd</a:t>
            </a:r>
            <a:r>
              <a:rPr lang="en-US" noProof="0" dirty="0"/>
              <a:t> </a:t>
            </a:r>
            <a:r>
              <a:rPr lang="en-US" noProof="0" dirty="0" err="1"/>
              <a:t>gerelateerd</a:t>
            </a:r>
            <a:r>
              <a:rPr lang="en-US" noProof="0" dirty="0"/>
              <a:t> </a:t>
            </a:r>
            <a:r>
              <a:rPr lang="en-US" noProof="0" dirty="0" err="1"/>
              <a:t>aan</a:t>
            </a:r>
            <a:r>
              <a:rPr lang="en-US" noProof="0" dirty="0"/>
              <a:t> </a:t>
            </a:r>
            <a:r>
              <a:rPr lang="en-US" noProof="0" dirty="0" err="1"/>
              <a:t>gewenste</a:t>
            </a:r>
            <a:r>
              <a:rPr lang="en-US" noProof="0" dirty="0"/>
              <a:t> </a:t>
            </a:r>
            <a:r>
              <a:rPr lang="en-US" noProof="0" dirty="0" err="1"/>
              <a:t>transitie</a:t>
            </a:r>
            <a:endParaRPr lang="en-US" noProof="0" dirty="0"/>
          </a:p>
          <a:p>
            <a:r>
              <a:rPr lang="en-US" noProof="0" dirty="0" err="1"/>
              <a:t>Geen</a:t>
            </a:r>
            <a:r>
              <a:rPr lang="en-US" noProof="0" dirty="0"/>
              <a:t> </a:t>
            </a:r>
            <a:r>
              <a:rPr lang="en-US" noProof="0" dirty="0" err="1"/>
              <a:t>heilige</a:t>
            </a:r>
            <a:r>
              <a:rPr lang="en-US" noProof="0" dirty="0"/>
              <a:t> </a:t>
            </a:r>
            <a:r>
              <a:rPr lang="en-US" noProof="0" dirty="0" err="1"/>
              <a:t>graal</a:t>
            </a:r>
            <a:endParaRPr lang="nl-NL" noProof="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38D1CB-DA2B-490C-9AE1-D56BAA7E866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67436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r>
              <a:rPr lang="nl-NL"/>
              <a:t>Wat welke zwaarte, of dit allemaal moet gebeuren, autonoom of </a:t>
            </a:r>
            <a:r>
              <a:rPr lang="nl-NL" err="1"/>
              <a:t>onde</a:t>
            </a:r>
            <a:r>
              <a:rPr lang="nl-NL"/>
              <a:t> </a:t>
            </a:r>
            <a:r>
              <a:rPr lang="nl-NL" err="1"/>
              <a:t>rregie</a:t>
            </a:r>
            <a:r>
              <a:rPr lang="nl-NL"/>
              <a:t> van het netwerk. Heel licht : is genoemd en belangrijk, maar vraagt dat een heel sterke inzet van het netwerk? Donkerder </a:t>
            </a:r>
            <a:r>
              <a:rPr lang="nl-NL" err="1"/>
              <a:t>daarvanw</a:t>
            </a:r>
            <a:r>
              <a:rPr lang="nl-NL"/>
              <a:t> eten we dat we vanuit het netwerk daarop gaan inzetten</a:t>
            </a:r>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33FEF1-1D15-4C39-8296-36B1CE2CFC4A}"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39676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r>
              <a:rPr lang="nl-NL"/>
              <a:t>We gaan nu echt aan de slag met de verschillende doorbraakprojecten. Het doel is om de projecten te verbeteren, aan te vullen, maar vooral om de synergie tussen de projecten te vinden. </a:t>
            </a:r>
          </a:p>
          <a:p>
            <a:endParaRPr lang="nl-NL"/>
          </a:p>
          <a:p>
            <a:r>
              <a:rPr lang="nl-NL"/>
              <a:t>Dit gaan we doen op basis van de verschillende ‘puzzelstukjes’ die het project maken. </a:t>
            </a:r>
          </a:p>
          <a:p>
            <a:endParaRPr lang="nl-NL"/>
          </a:p>
          <a:p>
            <a:endParaRPr lang="nl-NL"/>
          </a:p>
          <a:p>
            <a:endParaRPr lang="nl-NL"/>
          </a:p>
          <a:p>
            <a:endParaRPr lang="nl-NL"/>
          </a:p>
          <a:p>
            <a:r>
              <a:rPr lang="nl-NL"/>
              <a:t>We hebben 1,5 uur werktijd, maar dit is inclusief koffiepauze. Zorg dus goed voor jezelf. </a:t>
            </a:r>
          </a:p>
          <a:p>
            <a:r>
              <a:rPr lang="nl-NL"/>
              <a:t>Je mag zelf bepalen hoeveel tijd je wilt besteden per project of puzzelstukje, maar wij geven ieder half uur even aan dat er een half uur voorbij is. </a:t>
            </a:r>
          </a:p>
        </p:txBody>
      </p:sp>
    </p:spTree>
    <p:extLst>
      <p:ext uri="{BB962C8B-B14F-4D97-AF65-F5344CB8AC3E}">
        <p14:creationId xmlns:p14="http://schemas.microsoft.com/office/powerpoint/2010/main" val="9819429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ea typeface="Calibri"/>
                <a:cs typeface="Calibri"/>
              </a:rPr>
              <a:t>13.00 - </a:t>
            </a:r>
            <a:r>
              <a:rPr lang="en-US" err="1">
                <a:ea typeface="Calibri"/>
                <a:cs typeface="Calibri"/>
              </a:rPr>
              <a:t>Vraag</a:t>
            </a:r>
            <a:r>
              <a:rPr lang="en-US">
                <a:ea typeface="Calibri"/>
                <a:cs typeface="Calibri"/>
              </a:rPr>
              <a:t> &amp; </a:t>
            </a:r>
            <a:r>
              <a:rPr lang="en-US" err="1">
                <a:ea typeface="Calibri"/>
                <a:cs typeface="Calibri"/>
              </a:rPr>
              <a:t>antwoord</a:t>
            </a:r>
            <a:r>
              <a:rPr lang="en-US">
                <a:ea typeface="Calibri"/>
                <a:cs typeface="Calibri"/>
              </a:rPr>
              <a:t> </a:t>
            </a:r>
            <a:r>
              <a:rPr lang="en-US" err="1">
                <a:ea typeface="Calibri"/>
                <a:cs typeface="Calibri"/>
              </a:rPr>
              <a:t>dialoog</a:t>
            </a:r>
            <a:r>
              <a:rPr lang="en-US">
                <a:ea typeface="Calibri"/>
                <a:cs typeface="Calibri"/>
              </a:rPr>
              <a:t> </a:t>
            </a:r>
            <a:r>
              <a:rPr lang="en-US" err="1">
                <a:ea typeface="Calibri"/>
                <a:cs typeface="Calibri"/>
              </a:rPr>
              <a:t>tussen</a:t>
            </a:r>
            <a:r>
              <a:rPr lang="en-US">
                <a:ea typeface="Calibri"/>
                <a:cs typeface="Calibri"/>
              </a:rPr>
              <a:t> Leonie </a:t>
            </a:r>
            <a:r>
              <a:rPr lang="en-US" err="1">
                <a:ea typeface="Calibri"/>
                <a:cs typeface="Calibri"/>
              </a:rPr>
              <a:t>en</a:t>
            </a:r>
            <a:r>
              <a:rPr lang="en-US">
                <a:ea typeface="Calibri"/>
                <a:cs typeface="Calibri"/>
              </a:rPr>
              <a:t> GW. </a:t>
            </a:r>
            <a:r>
              <a:rPr lang="en-US" err="1">
                <a:ea typeface="Calibri"/>
                <a:cs typeface="Calibri"/>
              </a:rPr>
              <a:t>Vragen</a:t>
            </a:r>
            <a:r>
              <a:rPr lang="en-US">
                <a:ea typeface="Calibri"/>
                <a:cs typeface="Calibri"/>
              </a:rPr>
              <a:t> </a:t>
            </a:r>
            <a:r>
              <a:rPr lang="en-US" err="1">
                <a:ea typeface="Calibri"/>
                <a:cs typeface="Calibri"/>
              </a:rPr>
              <a:t>beantwoorden</a:t>
            </a:r>
            <a:r>
              <a:rPr lang="en-US">
                <a:ea typeface="Calibri"/>
                <a:cs typeface="Calibri"/>
              </a:rPr>
              <a:t> over </a:t>
            </a:r>
            <a:r>
              <a:rPr lang="en-US" err="1">
                <a:ea typeface="Calibri"/>
                <a:cs typeface="Calibri"/>
              </a:rPr>
              <a:t>dat</a:t>
            </a:r>
            <a:r>
              <a:rPr lang="en-US">
                <a:ea typeface="Calibri"/>
                <a:cs typeface="Calibri"/>
              </a:rPr>
              <a:t> GW </a:t>
            </a:r>
            <a:r>
              <a:rPr lang="en-US" err="1">
                <a:ea typeface="Calibri"/>
                <a:cs typeface="Calibri"/>
              </a:rPr>
              <a:t>niet</a:t>
            </a:r>
            <a:r>
              <a:rPr lang="en-US">
                <a:ea typeface="Calibri"/>
                <a:cs typeface="Calibri"/>
              </a:rPr>
              <a:t> de </a:t>
            </a:r>
            <a:r>
              <a:rPr lang="en-US" err="1">
                <a:ea typeface="Calibri"/>
                <a:cs typeface="Calibri"/>
              </a:rPr>
              <a:t>keuzes</a:t>
            </a:r>
            <a:r>
              <a:rPr lang="en-US">
                <a:ea typeface="Calibri"/>
                <a:cs typeface="Calibri"/>
              </a:rPr>
              <a:t> </a:t>
            </a:r>
            <a:r>
              <a:rPr lang="en-US" err="1">
                <a:ea typeface="Calibri"/>
                <a:cs typeface="Calibri"/>
              </a:rPr>
              <a:t>maakt</a:t>
            </a:r>
            <a:r>
              <a:rPr lang="en-US">
                <a:ea typeface="Calibri"/>
                <a:cs typeface="Calibri"/>
              </a:rPr>
              <a:t> </a:t>
            </a:r>
            <a:r>
              <a:rPr lang="en-US" err="1">
                <a:ea typeface="Calibri"/>
                <a:cs typeface="Calibri"/>
              </a:rPr>
              <a:t>vandaag</a:t>
            </a:r>
            <a:r>
              <a:rPr lang="en-US">
                <a:ea typeface="Calibri"/>
                <a:cs typeface="Calibri"/>
              </a:rPr>
              <a:t>, maar </a:t>
            </a:r>
            <a:r>
              <a:rPr lang="en-US" err="1">
                <a:ea typeface="Calibri"/>
                <a:cs typeface="Calibri"/>
              </a:rPr>
              <a:t>juist</a:t>
            </a:r>
            <a:r>
              <a:rPr lang="en-US">
                <a:ea typeface="Calibri"/>
                <a:cs typeface="Calibri"/>
              </a:rPr>
              <a:t> het </a:t>
            </a:r>
            <a:r>
              <a:rPr lang="en-US" err="1">
                <a:ea typeface="Calibri"/>
                <a:cs typeface="Calibri"/>
              </a:rPr>
              <a:t>netwerk</a:t>
            </a:r>
            <a:r>
              <a:rPr lang="en-US">
                <a:ea typeface="Calibri"/>
                <a:cs typeface="Calibri"/>
              </a:rPr>
              <a:t>. </a:t>
            </a:r>
            <a:r>
              <a:rPr lang="en-US" err="1">
                <a:ea typeface="Calibri"/>
                <a:cs typeface="Calibri"/>
              </a:rPr>
              <a:t>Daarnaast</a:t>
            </a:r>
            <a:r>
              <a:rPr lang="en-US">
                <a:ea typeface="Calibri"/>
                <a:cs typeface="Calibri"/>
              </a:rPr>
              <a:t> wat de </a:t>
            </a:r>
            <a:r>
              <a:rPr lang="en-US" err="1">
                <a:ea typeface="Calibri"/>
                <a:cs typeface="Calibri"/>
              </a:rPr>
              <a:t>provincie</a:t>
            </a:r>
            <a:r>
              <a:rPr lang="en-US">
                <a:ea typeface="Calibri"/>
                <a:cs typeface="Calibri"/>
              </a:rPr>
              <a:t> </a:t>
            </a:r>
            <a:r>
              <a:rPr lang="en-US" err="1">
                <a:ea typeface="Calibri"/>
                <a:cs typeface="Calibri"/>
              </a:rPr>
              <a:t>wel</a:t>
            </a:r>
            <a:r>
              <a:rPr lang="en-US">
                <a:ea typeface="Calibri"/>
                <a:cs typeface="Calibri"/>
              </a:rPr>
              <a:t>/</a:t>
            </a:r>
            <a:r>
              <a:rPr lang="en-US" err="1">
                <a:ea typeface="Calibri"/>
                <a:cs typeface="Calibri"/>
              </a:rPr>
              <a:t>niet</a:t>
            </a:r>
            <a:r>
              <a:rPr lang="en-US">
                <a:ea typeface="Calibri"/>
                <a:cs typeface="Calibri"/>
              </a:rPr>
              <a:t> </a:t>
            </a:r>
            <a:r>
              <a:rPr lang="en-US" err="1">
                <a:ea typeface="Calibri"/>
                <a:cs typeface="Calibri"/>
              </a:rPr>
              <a:t>kan</a:t>
            </a:r>
            <a:r>
              <a:rPr lang="en-US">
                <a:ea typeface="Calibri"/>
                <a:cs typeface="Calibri"/>
              </a:rPr>
              <a:t> </a:t>
            </a:r>
            <a:r>
              <a:rPr lang="en-US" err="1">
                <a:ea typeface="Calibri"/>
                <a:cs typeface="Calibri"/>
              </a:rPr>
              <a:t>bieden</a:t>
            </a:r>
            <a:r>
              <a:rPr lang="en-US">
                <a:ea typeface="Calibri"/>
                <a:cs typeface="Calibri"/>
              </a:rPr>
              <a:t>, het </a:t>
            </a:r>
            <a:r>
              <a:rPr lang="en-US" err="1">
                <a:ea typeface="Calibri"/>
                <a:cs typeface="Calibri"/>
              </a:rPr>
              <a:t>gaat</a:t>
            </a:r>
            <a:r>
              <a:rPr lang="en-US">
                <a:ea typeface="Calibri"/>
                <a:cs typeface="Calibri"/>
              </a:rPr>
              <a:t> </a:t>
            </a:r>
            <a:r>
              <a:rPr lang="en-US" err="1">
                <a:ea typeface="Calibri"/>
                <a:cs typeface="Calibri"/>
              </a:rPr>
              <a:t>niet</a:t>
            </a:r>
            <a:r>
              <a:rPr lang="en-US">
                <a:ea typeface="Calibri"/>
                <a:cs typeface="Calibri"/>
              </a:rPr>
              <a:t> over </a:t>
            </a:r>
            <a:r>
              <a:rPr lang="en-US" err="1">
                <a:ea typeface="Calibri"/>
                <a:cs typeface="Calibri"/>
              </a:rPr>
              <a:t>een</a:t>
            </a:r>
            <a:r>
              <a:rPr lang="en-US">
                <a:ea typeface="Calibri"/>
                <a:cs typeface="Calibri"/>
              </a:rPr>
              <a:t> </a:t>
            </a:r>
            <a:r>
              <a:rPr lang="en-US" err="1">
                <a:ea typeface="Calibri"/>
                <a:cs typeface="Calibri"/>
              </a:rPr>
              <a:t>subsidiepot</a:t>
            </a:r>
            <a:r>
              <a:rPr lang="en-US">
                <a:ea typeface="Calibri"/>
                <a:cs typeface="Calibri"/>
              </a:rPr>
              <a:t>. </a:t>
            </a:r>
            <a:r>
              <a:rPr lang="en-US" err="1">
                <a:ea typeface="Calibri"/>
                <a:cs typeface="Calibri"/>
              </a:rPr>
              <a:t>Benadrukken</a:t>
            </a:r>
            <a:r>
              <a:rPr lang="en-US">
                <a:ea typeface="Calibri"/>
                <a:cs typeface="Calibri"/>
              </a:rPr>
              <a:t> </a:t>
            </a:r>
            <a:r>
              <a:rPr lang="en-US" err="1">
                <a:ea typeface="Calibri"/>
                <a:cs typeface="Calibri"/>
              </a:rPr>
              <a:t>dat</a:t>
            </a:r>
            <a:r>
              <a:rPr lang="en-US">
                <a:ea typeface="Calibri"/>
                <a:cs typeface="Calibri"/>
              </a:rPr>
              <a:t> het </a:t>
            </a:r>
            <a:r>
              <a:rPr lang="en-US" err="1">
                <a:ea typeface="Calibri"/>
                <a:cs typeface="Calibri"/>
              </a:rPr>
              <a:t>gaat</a:t>
            </a:r>
            <a:r>
              <a:rPr lang="en-US">
                <a:ea typeface="Calibri"/>
                <a:cs typeface="Calibri"/>
              </a:rPr>
              <a:t> over </a:t>
            </a:r>
            <a:r>
              <a:rPr lang="en-US" err="1">
                <a:ea typeface="Calibri"/>
                <a:cs typeface="Calibri"/>
              </a:rPr>
              <a:t>samenwerkingen</a:t>
            </a:r>
            <a:r>
              <a:rPr lang="en-US">
                <a:ea typeface="Calibri"/>
                <a:cs typeface="Calibri"/>
              </a:rPr>
              <a:t>. Focus op </a:t>
            </a:r>
            <a:r>
              <a:rPr lang="en-US" err="1">
                <a:ea typeface="Calibri"/>
                <a:cs typeface="Calibri"/>
              </a:rPr>
              <a:t>systeemverandering</a:t>
            </a:r>
            <a:r>
              <a:rPr lang="en-US">
                <a:ea typeface="Calibri"/>
                <a:cs typeface="Calibri"/>
              </a:rPr>
              <a:t>. </a:t>
            </a:r>
          </a:p>
          <a:p>
            <a:endParaRPr lang="en-US">
              <a:ea typeface="Calibri"/>
              <a:cs typeface="Calibri"/>
            </a:endParaRPr>
          </a:p>
          <a:p>
            <a:r>
              <a:rPr lang="en-US">
                <a:ea typeface="Calibri"/>
                <a:cs typeface="Calibri"/>
              </a:rPr>
              <a:t>13.20 </a:t>
            </a:r>
            <a:r>
              <a:rPr lang="en-US" err="1">
                <a:ea typeface="Calibri"/>
                <a:cs typeface="Calibri"/>
              </a:rPr>
              <a:t>Explixiet</a:t>
            </a:r>
            <a:r>
              <a:rPr lang="en-US">
                <a:ea typeface="Calibri"/>
                <a:cs typeface="Calibri"/>
              </a:rPr>
              <a:t> </a:t>
            </a:r>
            <a:r>
              <a:rPr lang="en-US" err="1">
                <a:ea typeface="Calibri"/>
                <a:cs typeface="Calibri"/>
              </a:rPr>
              <a:t>benoemen</a:t>
            </a:r>
            <a:r>
              <a:rPr lang="en-US">
                <a:ea typeface="Calibri"/>
                <a:cs typeface="Calibri"/>
              </a:rPr>
              <a:t> </a:t>
            </a:r>
            <a:r>
              <a:rPr lang="en-US" err="1">
                <a:ea typeface="Calibri"/>
                <a:cs typeface="Calibri"/>
              </a:rPr>
              <a:t>dat</a:t>
            </a:r>
            <a:r>
              <a:rPr lang="en-US">
                <a:ea typeface="Calibri"/>
                <a:cs typeface="Calibri"/>
              </a:rPr>
              <a:t> alle </a:t>
            </a:r>
            <a:r>
              <a:rPr lang="en-US" err="1">
                <a:ea typeface="Calibri"/>
                <a:cs typeface="Calibri"/>
              </a:rPr>
              <a:t>projecten</a:t>
            </a:r>
            <a:r>
              <a:rPr lang="en-US">
                <a:ea typeface="Calibri"/>
                <a:cs typeface="Calibri"/>
              </a:rPr>
              <a:t> </a:t>
            </a:r>
            <a:r>
              <a:rPr lang="en-US" err="1">
                <a:ea typeface="Calibri"/>
                <a:cs typeface="Calibri"/>
              </a:rPr>
              <a:t>waardevol</a:t>
            </a:r>
            <a:r>
              <a:rPr lang="en-US">
                <a:ea typeface="Calibri"/>
                <a:cs typeface="Calibri"/>
              </a:rPr>
              <a:t> </a:t>
            </a:r>
            <a:r>
              <a:rPr lang="en-US" err="1">
                <a:ea typeface="Calibri"/>
                <a:cs typeface="Calibri"/>
              </a:rPr>
              <a:t>zijn</a:t>
            </a:r>
            <a:r>
              <a:rPr lang="en-US">
                <a:ea typeface="Calibri"/>
                <a:cs typeface="Calibri"/>
              </a:rPr>
              <a:t>, we </a:t>
            </a:r>
            <a:r>
              <a:rPr lang="en-US" err="1">
                <a:ea typeface="Calibri"/>
                <a:cs typeface="Calibri"/>
              </a:rPr>
              <a:t>zeggen</a:t>
            </a:r>
            <a:r>
              <a:rPr lang="en-US">
                <a:ea typeface="Calibri"/>
                <a:cs typeface="Calibri"/>
              </a:rPr>
              <a:t> </a:t>
            </a:r>
            <a:r>
              <a:rPr lang="en-US" err="1">
                <a:ea typeface="Calibri"/>
                <a:cs typeface="Calibri"/>
              </a:rPr>
              <a:t>alleen</a:t>
            </a:r>
            <a:r>
              <a:rPr lang="en-US">
                <a:ea typeface="Calibri"/>
                <a:cs typeface="Calibri"/>
              </a:rPr>
              <a:t> maar: wat is </a:t>
            </a:r>
            <a:r>
              <a:rPr lang="en-US" err="1">
                <a:ea typeface="Calibri"/>
                <a:cs typeface="Calibri"/>
              </a:rPr>
              <a:t>een</a:t>
            </a:r>
            <a:r>
              <a:rPr lang="en-US">
                <a:ea typeface="Calibri"/>
                <a:cs typeface="Calibri"/>
              </a:rPr>
              <a:t> </a:t>
            </a:r>
            <a:r>
              <a:rPr lang="en-US" err="1">
                <a:ea typeface="Calibri"/>
                <a:cs typeface="Calibri"/>
              </a:rPr>
              <a:t>doorbraakproject</a:t>
            </a:r>
            <a:r>
              <a:rPr lang="en-US">
                <a:ea typeface="Calibri"/>
                <a:cs typeface="Calibri"/>
              </a:rPr>
              <a:t> wat </a:t>
            </a:r>
            <a:r>
              <a:rPr lang="en-US" err="1">
                <a:ea typeface="Calibri"/>
                <a:cs typeface="Calibri"/>
              </a:rPr>
              <a:t>alleen</a:t>
            </a:r>
            <a:r>
              <a:rPr lang="en-US">
                <a:ea typeface="Calibri"/>
                <a:cs typeface="Calibri"/>
              </a:rPr>
              <a:t> maar </a:t>
            </a:r>
            <a:r>
              <a:rPr lang="en-US" err="1">
                <a:ea typeface="Calibri"/>
                <a:cs typeface="Calibri"/>
              </a:rPr>
              <a:t>slaagt</a:t>
            </a:r>
            <a:r>
              <a:rPr lang="en-US">
                <a:ea typeface="Calibri"/>
                <a:cs typeface="Calibri"/>
              </a:rPr>
              <a:t> </a:t>
            </a:r>
            <a:r>
              <a:rPr lang="en-US" err="1">
                <a:ea typeface="Calibri"/>
                <a:cs typeface="Calibri"/>
              </a:rPr>
              <a:t>als</a:t>
            </a:r>
            <a:r>
              <a:rPr lang="en-US">
                <a:ea typeface="Calibri"/>
                <a:cs typeface="Calibri"/>
              </a:rPr>
              <a:t> we er </a:t>
            </a:r>
            <a:r>
              <a:rPr lang="en-US" err="1">
                <a:ea typeface="Calibri"/>
                <a:cs typeface="Calibri"/>
              </a:rPr>
              <a:t>samen</a:t>
            </a:r>
            <a:r>
              <a:rPr lang="en-US">
                <a:ea typeface="Calibri"/>
                <a:cs typeface="Calibri"/>
              </a:rPr>
              <a:t> de </a:t>
            </a:r>
            <a:r>
              <a:rPr lang="en-US" err="1">
                <a:ea typeface="Calibri"/>
                <a:cs typeface="Calibri"/>
              </a:rPr>
              <a:t>schouders</a:t>
            </a:r>
            <a:r>
              <a:rPr lang="en-US">
                <a:ea typeface="Calibri"/>
                <a:cs typeface="Calibri"/>
              </a:rPr>
              <a:t> </a:t>
            </a:r>
            <a:r>
              <a:rPr lang="en-US" err="1">
                <a:ea typeface="Calibri"/>
                <a:cs typeface="Calibri"/>
              </a:rPr>
              <a:t>onder</a:t>
            </a:r>
            <a:r>
              <a:rPr lang="en-US">
                <a:ea typeface="Calibri"/>
                <a:cs typeface="Calibri"/>
              </a:rPr>
              <a:t> </a:t>
            </a:r>
            <a:r>
              <a:rPr lang="en-US" err="1">
                <a:ea typeface="Calibri"/>
                <a:cs typeface="Calibri"/>
              </a:rPr>
              <a:t>zetten</a:t>
            </a:r>
            <a:r>
              <a:rPr lang="en-US">
                <a:ea typeface="Calibri"/>
                <a:cs typeface="Calibri"/>
              </a:rPr>
              <a:t>. </a:t>
            </a:r>
          </a:p>
          <a:p>
            <a:endParaRPr lang="en-US">
              <a:ea typeface="Calibri"/>
              <a:cs typeface="Calibri"/>
            </a:endParaRPr>
          </a:p>
          <a:p>
            <a:endParaRPr lang="en-US">
              <a:ea typeface="Calibri"/>
              <a:cs typeface="Calibri"/>
            </a:endParaRPr>
          </a:p>
          <a:p>
            <a:endParaRPr lang="en-US">
              <a:ea typeface="Calibri"/>
              <a:cs typeface="Calibri"/>
            </a:endParaRPr>
          </a:p>
          <a:p>
            <a:endParaRPr lang="en-US">
              <a:ea typeface="Calibri"/>
              <a:cs typeface="Calibri"/>
            </a:endParaRPr>
          </a:p>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33FEF1-1D15-4C39-8296-36B1CE2CFC4A}"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41035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 y="649288"/>
            <a:ext cx="6972300" cy="3922712"/>
          </a:xfrm>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9BE7D123-C831-4A2D-920C-8F39C4D8C04B}" type="slidenum">
              <a:rPr lang="nl-NL" smtClean="0"/>
              <a:t>3</a:t>
            </a:fld>
            <a:endParaRPr lang="nl-NL"/>
          </a:p>
        </p:txBody>
      </p:sp>
    </p:spTree>
    <p:extLst>
      <p:ext uri="{BB962C8B-B14F-4D97-AF65-F5344CB8AC3E}">
        <p14:creationId xmlns:p14="http://schemas.microsoft.com/office/powerpoint/2010/main" val="4917706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7150" y="649288"/>
            <a:ext cx="6972300" cy="3922712"/>
          </a:xfrm>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10"/>
          </p:nvPr>
        </p:nvSpPr>
        <p:spPr/>
        <p:txBody>
          <a:bodyPr/>
          <a:lstStyle/>
          <a:p>
            <a:fld id="{9BE7D123-C831-4A2D-920C-8F39C4D8C04B}" type="slidenum">
              <a:rPr lang="nl-NL" smtClean="0"/>
              <a:t>7</a:t>
            </a:fld>
            <a:endParaRPr lang="nl-NL"/>
          </a:p>
        </p:txBody>
      </p:sp>
    </p:spTree>
    <p:extLst>
      <p:ext uri="{BB962C8B-B14F-4D97-AF65-F5344CB8AC3E}">
        <p14:creationId xmlns:p14="http://schemas.microsoft.com/office/powerpoint/2010/main" val="4917706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134C65-7296-4012-97D6-6BA80A674737}"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65864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F0967F-07A7-42DD-9E20-A8881EC5148B}"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99346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Het </a:t>
            </a:r>
            <a:r>
              <a:rPr lang="en-US" dirty="0" err="1"/>
              <a:t>vijfde</a:t>
            </a:r>
            <a:r>
              <a:rPr lang="en-US" dirty="0"/>
              <a:t> </a:t>
            </a:r>
            <a:r>
              <a:rPr lang="en-US" dirty="0" err="1"/>
              <a:t>dorp</a:t>
            </a:r>
            <a:r>
              <a:rPr lang="en-US" dirty="0"/>
              <a:t> </a:t>
            </a:r>
            <a:r>
              <a:rPr lang="en-US" dirty="0" err="1"/>
              <a:t>als</a:t>
            </a:r>
            <a:r>
              <a:rPr lang="en-US" dirty="0"/>
              <a:t> </a:t>
            </a:r>
            <a:r>
              <a:rPr lang="en-US" dirty="0" err="1"/>
              <a:t>proeftuin</a:t>
            </a:r>
            <a:endParaRPr lang="en-US" dirty="0"/>
          </a:p>
          <a:p>
            <a:pPr marL="171450" indent="-171450">
              <a:buFontTx/>
              <a:buChar char="-"/>
            </a:pPr>
            <a:r>
              <a:rPr lang="en-US" dirty="0" err="1"/>
              <a:t>Kunnen</a:t>
            </a:r>
            <a:r>
              <a:rPr lang="en-US" dirty="0"/>
              <a:t> we </a:t>
            </a:r>
            <a:r>
              <a:rPr lang="en-US" dirty="0" err="1"/>
              <a:t>dromen</a:t>
            </a:r>
            <a:r>
              <a:rPr lang="en-US" dirty="0"/>
              <a:t> van </a:t>
            </a:r>
            <a:r>
              <a:rPr lang="en-US" dirty="0" err="1"/>
              <a:t>een</a:t>
            </a:r>
            <a:r>
              <a:rPr lang="en-US" dirty="0"/>
              <a:t> biobased </a:t>
            </a:r>
            <a:r>
              <a:rPr lang="en-US" dirty="0" err="1"/>
              <a:t>bouwmarkt</a:t>
            </a:r>
            <a:r>
              <a:rPr lang="en-US" dirty="0"/>
              <a:t>?</a:t>
            </a:r>
          </a:p>
          <a:p>
            <a:pPr marL="171450" indent="-171450">
              <a:buFontTx/>
              <a:buChar char="-"/>
            </a:pPr>
            <a:r>
              <a:rPr lang="nl-NL" dirty="0"/>
              <a:t>Nieuw perspectief voor het veenweidegebied</a:t>
            </a:r>
          </a:p>
          <a:p>
            <a:r>
              <a:rPr lang="nl-NL" dirty="0"/>
              <a:t>- </a:t>
            </a:r>
            <a:r>
              <a:rPr lang="nl-NL" dirty="0" err="1"/>
              <a:t>Biobased</a:t>
            </a:r>
            <a:r>
              <a:rPr lang="nl-NL" dirty="0"/>
              <a:t> bouwbeweging is aanstekelijk, </a:t>
            </a:r>
            <a:r>
              <a:rPr lang="nl-NL" dirty="0" err="1"/>
              <a:t>aantekkelijk</a:t>
            </a:r>
            <a:r>
              <a:rPr lang="nl-NL" dirty="0"/>
              <a:t>, divers en sex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B2901E-1CDC-4EFF-91E1-E691A5D5E00F}"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17916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B2901E-1CDC-4EFF-91E1-E691A5D5E00F}"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79198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Ongewone</a:t>
            </a:r>
            <a:r>
              <a:rPr lang="en-US" dirty="0"/>
              <a:t> </a:t>
            </a:r>
            <a:r>
              <a:rPr lang="en-US" dirty="0" err="1"/>
              <a:t>coalities</a:t>
            </a:r>
            <a:r>
              <a:rPr lang="en-US" dirty="0"/>
              <a:t>: </a:t>
            </a:r>
            <a:r>
              <a:rPr lang="en-US" dirty="0" err="1"/>
              <a:t>ondernemende</a:t>
            </a:r>
            <a:r>
              <a:rPr lang="en-US" dirty="0"/>
              <a:t> </a:t>
            </a:r>
            <a:r>
              <a:rPr lang="en-US" dirty="0" err="1"/>
              <a:t>ambtenaren</a:t>
            </a:r>
            <a:r>
              <a:rPr lang="en-US" dirty="0"/>
              <a:t>, </a:t>
            </a:r>
            <a:r>
              <a:rPr lang="en-US" dirty="0" err="1"/>
              <a:t>eigenwijze</a:t>
            </a:r>
            <a:r>
              <a:rPr lang="en-US" dirty="0"/>
              <a:t> </a:t>
            </a:r>
            <a:r>
              <a:rPr lang="en-US" dirty="0" err="1"/>
              <a:t>bouwers</a:t>
            </a:r>
            <a:r>
              <a:rPr lang="en-US" dirty="0"/>
              <a:t>, </a:t>
            </a:r>
            <a:r>
              <a:rPr lang="en-US" dirty="0" err="1"/>
              <a:t>ondezoekende</a:t>
            </a:r>
            <a:r>
              <a:rPr lang="en-US" dirty="0"/>
              <a:t> </a:t>
            </a:r>
            <a:r>
              <a:rPr lang="en-US" dirty="0" err="1"/>
              <a:t>boeren</a:t>
            </a:r>
            <a:r>
              <a:rPr lang="en-US" dirty="0"/>
              <a:t> en </a:t>
            </a:r>
            <a:r>
              <a:rPr lang="en-US" dirty="0" err="1"/>
              <a:t>praktijkminnende</a:t>
            </a:r>
            <a:r>
              <a:rPr lang="en-US" dirty="0"/>
              <a:t> </a:t>
            </a:r>
            <a:r>
              <a:rPr lang="en-US" dirty="0" err="1"/>
              <a:t>onderzoekers</a:t>
            </a:r>
            <a:endParaRPr lang="en-US" dirty="0"/>
          </a:p>
          <a:p>
            <a:endParaRPr lang="nl-NL"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B2901E-1CDC-4EFF-91E1-E691A5D5E00F}"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25401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hyperlink" Target="https://www.linkedin.com/company/squarewise/" TargetMode="External"/><Relationship Id="rId5" Type="http://schemas.openxmlformats.org/officeDocument/2006/relationships/hyperlink" Target="https://twitter.com/Squarewise" TargetMode="External"/><Relationship Id="rId4" Type="http://schemas.openxmlformats.org/officeDocument/2006/relationships/hyperlink" Target="https://www.facebook.com/Squarewise-129364747093817/" TargetMode="External"/></Relationships>
</file>

<file path=ppt/slideLayouts/_rels/slideLayout41.xml.rels><?xml version="1.0" encoding="UTF-8" standalone="yes"?>
<Relationships xmlns="http://schemas.openxmlformats.org/package/2006/relationships"><Relationship Id="rId3" Type="http://schemas.openxmlformats.org/officeDocument/2006/relationships/hyperlink" Target="https://twitter.com/Squarewise" TargetMode="External"/><Relationship Id="rId2" Type="http://schemas.openxmlformats.org/officeDocument/2006/relationships/hyperlink" Target="https://www.facebook.com/Squarewise-129364747093817/" TargetMode="External"/><Relationship Id="rId1" Type="http://schemas.openxmlformats.org/officeDocument/2006/relationships/slideMaster" Target="../slideMasters/slideMaster1.xml"/><Relationship Id="rId4" Type="http://schemas.openxmlformats.org/officeDocument/2006/relationships/hyperlink" Target="https://www.linkedin.com/company/squarewise/" TargetMode="Externa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6.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oleObject" Target="../embeddings/oleObject1.bin"/><Relationship Id="rId5" Type="http://schemas.openxmlformats.org/officeDocument/2006/relationships/image" Target="../media/image15.jpeg"/><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jpe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20.jp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jpeg"/><Relationship Id="rId1" Type="http://schemas.openxmlformats.org/officeDocument/2006/relationships/slideMaster" Target="../slideMasters/slideMaster3.xml"/><Relationship Id="rId4" Type="http://schemas.openxmlformats.org/officeDocument/2006/relationships/image" Target="../media/image19.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8.emf"/><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 Cyaan">
    <p:bg>
      <p:bgPr>
        <a:solidFill>
          <a:schemeClr val="accent2"/>
        </a:solidFill>
        <a:effectLst/>
      </p:bgPr>
    </p:bg>
    <p:spTree>
      <p:nvGrpSpPr>
        <p:cNvPr id="1" name=""/>
        <p:cNvGrpSpPr/>
        <p:nvPr/>
      </p:nvGrpSpPr>
      <p:grpSpPr>
        <a:xfrm>
          <a:off x="0" y="0"/>
          <a:ext cx="0" cy="0"/>
          <a:chOff x="0" y="0"/>
          <a:chExt cx="0" cy="0"/>
        </a:xfrm>
      </p:grpSpPr>
      <p:sp>
        <p:nvSpPr>
          <p:cNvPr id="11" name="Auteur en datum"/>
          <p:cNvSpPr txBox="1">
            <a:spLocks noGrp="1"/>
          </p:cNvSpPr>
          <p:nvPr>
            <p:ph type="body" sz="quarter" idx="21" hasCustomPrompt="1"/>
          </p:nvPr>
        </p:nvSpPr>
        <p:spPr>
          <a:xfrm>
            <a:off x="2459736" y="10633820"/>
            <a:ext cx="19732753" cy="713231"/>
          </a:xfrm>
          <a:prstGeom prst="rect">
            <a:avLst/>
          </a:prstGeom>
        </p:spPr>
        <p:txBody>
          <a:bodyPr lIns="216000" tIns="45719" rIns="45719" bIns="45719" anchor="b">
            <a:noAutofit/>
          </a:bodyPr>
          <a:lstStyle>
            <a:lvl1pPr marL="0" indent="0" defTabSz="825500">
              <a:lnSpc>
                <a:spcPct val="100000"/>
              </a:lnSpc>
              <a:spcBef>
                <a:spcPts val="0"/>
              </a:spcBef>
              <a:buSzTx/>
              <a:buNone/>
              <a:defRPr sz="4000" b="0">
                <a:latin typeface="+mn-lt"/>
              </a:defRPr>
            </a:lvl1pPr>
          </a:lstStyle>
          <a:p>
            <a:r>
              <a:rPr lang="nl-NL"/>
              <a:t>Auteurs</a:t>
            </a:r>
            <a:endParaRPr/>
          </a:p>
        </p:txBody>
      </p:sp>
      <p:sp>
        <p:nvSpPr>
          <p:cNvPr id="12" name="Naam presentatie"/>
          <p:cNvSpPr txBox="1">
            <a:spLocks noGrp="1"/>
          </p:cNvSpPr>
          <p:nvPr>
            <p:ph type="title" hasCustomPrompt="1"/>
          </p:nvPr>
        </p:nvSpPr>
        <p:spPr>
          <a:xfrm>
            <a:off x="2505456" y="6629400"/>
            <a:ext cx="19732753" cy="1517905"/>
          </a:xfrm>
          <a:prstGeom prst="rect">
            <a:avLst/>
          </a:prstGeom>
        </p:spPr>
        <p:txBody>
          <a:bodyPr lIns="144000" anchor="t">
            <a:noAutofit/>
          </a:bodyPr>
          <a:lstStyle>
            <a:lvl1pPr>
              <a:defRPr sz="12000" b="0" spc="0" baseline="0">
                <a:latin typeface="+mj-lt"/>
              </a:defRPr>
            </a:lvl1pPr>
          </a:lstStyle>
          <a:p>
            <a:r>
              <a:rPr lang="nl-NL"/>
              <a:t>Titel</a:t>
            </a:r>
            <a:endParaRPr/>
          </a:p>
        </p:txBody>
      </p:sp>
      <p:sp>
        <p:nvSpPr>
          <p:cNvPr id="13" name="Hoofdtekst - niveau één…"/>
          <p:cNvSpPr txBox="1">
            <a:spLocks noGrp="1"/>
          </p:cNvSpPr>
          <p:nvPr>
            <p:ph type="body" sz="quarter" idx="1" hasCustomPrompt="1"/>
          </p:nvPr>
        </p:nvSpPr>
        <p:spPr>
          <a:xfrm>
            <a:off x="2496312" y="2569464"/>
            <a:ext cx="19741897" cy="4059936"/>
          </a:xfrm>
          <a:prstGeom prst="rect">
            <a:avLst/>
          </a:prstGeom>
        </p:spPr>
        <p:txBody>
          <a:bodyPr lIns="108000" bIns="0" anchor="b">
            <a:noAutofit/>
          </a:bodyPr>
          <a:lstStyle>
            <a:lvl1pPr marL="0" indent="0" defTabSz="825500">
              <a:lnSpc>
                <a:spcPct val="100000"/>
              </a:lnSpc>
              <a:spcBef>
                <a:spcPts val="0"/>
              </a:spcBef>
              <a:buSzTx/>
              <a:buNone/>
              <a:defRPr sz="12200" b="0" spc="110" baseline="0"/>
            </a:lvl1pPr>
            <a:lvl2pPr marL="0" indent="0" defTabSz="825500">
              <a:lnSpc>
                <a:spcPct val="100000"/>
              </a:lnSpc>
              <a:spcBef>
                <a:spcPts val="0"/>
              </a:spcBef>
              <a:buSzTx/>
              <a:buNone/>
              <a:defRPr sz="5500" b="1"/>
            </a:lvl2pPr>
            <a:lvl3pPr marL="0" indent="0" defTabSz="825500">
              <a:lnSpc>
                <a:spcPct val="100000"/>
              </a:lnSpc>
              <a:spcBef>
                <a:spcPts val="0"/>
              </a:spcBef>
              <a:buSzTx/>
              <a:buNone/>
              <a:defRPr sz="5500" b="1"/>
            </a:lvl3pPr>
            <a:lvl4pPr marL="0" indent="0" defTabSz="825500">
              <a:lnSpc>
                <a:spcPct val="100000"/>
              </a:lnSpc>
              <a:spcBef>
                <a:spcPts val="0"/>
              </a:spcBef>
              <a:buSzTx/>
              <a:buNone/>
              <a:defRPr sz="5500" b="1"/>
            </a:lvl4pPr>
            <a:lvl5pPr marL="0" indent="0" defTabSz="825500">
              <a:lnSpc>
                <a:spcPct val="100000"/>
              </a:lnSpc>
              <a:spcBef>
                <a:spcPts val="0"/>
              </a:spcBef>
              <a:buSzTx/>
              <a:buNone/>
              <a:defRPr sz="5500" b="1"/>
            </a:lvl5pPr>
          </a:lstStyle>
          <a:p>
            <a:r>
              <a:rPr lang="nl-NL"/>
              <a:t>Subtitel</a:t>
            </a:r>
            <a:endParaRPr/>
          </a:p>
        </p:txBody>
      </p:sp>
      <p:sp>
        <p:nvSpPr>
          <p:cNvPr id="9" name="Tijdelijke aanduiding voor datum 4">
            <a:extLst>
              <a:ext uri="{FF2B5EF4-FFF2-40B4-BE49-F238E27FC236}">
                <a16:creationId xmlns:a16="http://schemas.microsoft.com/office/drawing/2014/main" id="{1AB02A12-0190-465E-B00A-B91F85BC46FC}"/>
              </a:ext>
            </a:extLst>
          </p:cNvPr>
          <p:cNvSpPr>
            <a:spLocks noGrp="1"/>
          </p:cNvSpPr>
          <p:nvPr>
            <p:ph type="dt" sz="half" idx="22"/>
          </p:nvPr>
        </p:nvSpPr>
        <p:spPr>
          <a:xfrm>
            <a:off x="2459736" y="11367879"/>
            <a:ext cx="19732752" cy="730250"/>
          </a:xfrm>
          <a:prstGeom prst="rect">
            <a:avLst/>
          </a:prstGeom>
        </p:spPr>
        <p:txBody>
          <a:bodyPr vert="horz" lIns="180000" tIns="45720" rIns="91440" bIns="45720" rtlCol="0" anchor="ctr"/>
          <a:lstStyle>
            <a:lvl1pPr algn="l">
              <a:defRPr sz="3200">
                <a:solidFill>
                  <a:schemeClr val="tx1"/>
                </a:solidFill>
              </a:defRPr>
            </a:lvl1pPr>
          </a:lstStyle>
          <a:p>
            <a:fld id="{B150532B-FCF9-426A-ADF2-F182BD70000C}" type="datetime4">
              <a:rPr lang="nl-NL" smtClean="0"/>
              <a:t>13 juni 2023</a:t>
            </a:fld>
            <a:endParaRPr lang="nl-NL"/>
          </a:p>
        </p:txBody>
      </p:sp>
      <p:sp>
        <p:nvSpPr>
          <p:cNvPr id="10" name="Dianummer">
            <a:extLst>
              <a:ext uri="{FF2B5EF4-FFF2-40B4-BE49-F238E27FC236}">
                <a16:creationId xmlns:a16="http://schemas.microsoft.com/office/drawing/2014/main" id="{869DACE5-1BFD-404D-92ED-AAFC9B1C2565}"/>
              </a:ext>
            </a:extLst>
          </p:cNvPr>
          <p:cNvSpPr txBox="1">
            <a:spLocks noGrp="1"/>
          </p:cNvSpPr>
          <p:nvPr>
            <p:ph type="sldNum" sz="quarter" idx="2"/>
          </p:nvPr>
        </p:nvSpPr>
        <p:spPr>
          <a:xfrm>
            <a:off x="23177500" y="13749162"/>
            <a:ext cx="811276" cy="441146"/>
          </a:xfrm>
          <a:prstGeom prst="rect">
            <a:avLst/>
          </a:prstGeom>
          <a:ln w="12700">
            <a:miter lim="400000"/>
          </a:ln>
        </p:spPr>
        <p:txBody>
          <a:bodyPr wrap="square" lIns="50800" tIns="50800" rIns="50800" bIns="50800" anchor="b">
            <a:spAutoFit/>
          </a:bodyPr>
          <a:lstStyle>
            <a:lvl1pPr algn="r" defTabSz="584200">
              <a:lnSpc>
                <a:spcPct val="100000"/>
              </a:lnSpc>
              <a:spcBef>
                <a:spcPts val="0"/>
              </a:spcBef>
              <a:defRPr sz="2200">
                <a:solidFill>
                  <a:schemeClr val="tx1"/>
                </a:solidFill>
                <a:latin typeface="+mn-lt"/>
                <a:ea typeface="Source Sans Pro" panose="020B0503030403020204" pitchFamily="34" charset="0"/>
              </a:defRPr>
            </a:lvl1pPr>
          </a:lstStyle>
          <a:p>
            <a:fld id="{86CB4B4D-7CA3-9044-876B-883B54F8677D}" type="slidenum">
              <a:rPr lang="nl-NL" smtClean="0"/>
              <a:pPr/>
              <a:t>‹nr.›</a:t>
            </a:fld>
            <a:endParaRPr lang="nl-NL"/>
          </a:p>
        </p:txBody>
      </p:sp>
      <p:pic>
        <p:nvPicPr>
          <p:cNvPr id="14" name="Graphic 13">
            <a:extLst>
              <a:ext uri="{FF2B5EF4-FFF2-40B4-BE49-F238E27FC236}">
                <a16:creationId xmlns:a16="http://schemas.microsoft.com/office/drawing/2014/main" id="{E85821A6-7AE3-439E-9FC3-83888A0A15B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7010" y="413369"/>
            <a:ext cx="2165251" cy="2165251"/>
          </a:xfrm>
          <a:prstGeom prst="rect">
            <a:avLst/>
          </a:prstGeom>
        </p:spPr>
      </p:pic>
    </p:spTree>
    <p:extLst>
      <p:ext uri="{BB962C8B-B14F-4D97-AF65-F5344CB8AC3E}">
        <p14:creationId xmlns:p14="http://schemas.microsoft.com/office/powerpoint/2010/main" val="890790120"/>
      </p:ext>
    </p:extLst>
  </p:cSld>
  <p:clrMapOvr>
    <a:masterClrMapping/>
  </p:clrMapOvr>
  <p:transition spd="med"/>
  <p:hf sldNum="0"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 links 2 afbeeldingen rec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C67F57-CD61-49A2-8791-5C19F7D0C4A4}"/>
              </a:ext>
            </a:extLst>
          </p:cNvPr>
          <p:cNvSpPr>
            <a:spLocks noGrp="1"/>
          </p:cNvSpPr>
          <p:nvPr>
            <p:ph type="title"/>
          </p:nvPr>
        </p:nvSpPr>
        <p:spPr>
          <a:xfrm>
            <a:off x="1712658" y="2516047"/>
            <a:ext cx="10479343" cy="1524272"/>
          </a:xfrm>
        </p:spPr>
        <p:txBody>
          <a:bodyPr/>
          <a:lstStyle/>
          <a:p>
            <a:r>
              <a:rPr lang="nl-NL"/>
              <a:t>Klik om stijl te bewerken</a:t>
            </a:r>
          </a:p>
        </p:txBody>
      </p:sp>
      <p:sp>
        <p:nvSpPr>
          <p:cNvPr id="3" name="Tijdelijke aanduiding voor dianummer 2">
            <a:extLst>
              <a:ext uri="{FF2B5EF4-FFF2-40B4-BE49-F238E27FC236}">
                <a16:creationId xmlns:a16="http://schemas.microsoft.com/office/drawing/2014/main" id="{2FA0DC6E-25B9-412E-A918-174FF2789FD0}"/>
              </a:ext>
            </a:extLst>
          </p:cNvPr>
          <p:cNvSpPr>
            <a:spLocks noGrp="1"/>
          </p:cNvSpPr>
          <p:nvPr>
            <p:ph type="sldNum" sz="quarter" idx="10"/>
          </p:nvPr>
        </p:nvSpPr>
        <p:spPr/>
        <p:txBody>
          <a:bodyPr/>
          <a:lstStyle/>
          <a:p>
            <a:fld id="{86CB4B4D-7CA3-9044-876B-883B54F8677D}" type="slidenum">
              <a:rPr lang="nl-NL" smtClean="0"/>
              <a:pPr/>
              <a:t>‹nr.›</a:t>
            </a:fld>
            <a:endParaRPr lang="nl-NL"/>
          </a:p>
        </p:txBody>
      </p:sp>
      <p:sp>
        <p:nvSpPr>
          <p:cNvPr id="7" name="Tijdelijke aanduiding voor inhoud 6">
            <a:extLst>
              <a:ext uri="{FF2B5EF4-FFF2-40B4-BE49-F238E27FC236}">
                <a16:creationId xmlns:a16="http://schemas.microsoft.com/office/drawing/2014/main" id="{46F2A3CA-7135-4C73-8C32-229646843285}"/>
              </a:ext>
            </a:extLst>
          </p:cNvPr>
          <p:cNvSpPr>
            <a:spLocks noGrp="1"/>
          </p:cNvSpPr>
          <p:nvPr>
            <p:ph sz="quarter" idx="13"/>
          </p:nvPr>
        </p:nvSpPr>
        <p:spPr>
          <a:xfrm>
            <a:off x="1712659" y="4752212"/>
            <a:ext cx="10479342" cy="7765923"/>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1" name="Tijdelijke aanduiding voor afbeelding 4">
            <a:extLst>
              <a:ext uri="{FF2B5EF4-FFF2-40B4-BE49-F238E27FC236}">
                <a16:creationId xmlns:a16="http://schemas.microsoft.com/office/drawing/2014/main" id="{4FFCA041-E12E-4B09-B3E8-7ECFF91B0DE1}"/>
              </a:ext>
            </a:extLst>
          </p:cNvPr>
          <p:cNvSpPr>
            <a:spLocks noGrp="1"/>
          </p:cNvSpPr>
          <p:nvPr>
            <p:ph type="pic" sz="quarter" idx="23" hasCustomPrompt="1"/>
          </p:nvPr>
        </p:nvSpPr>
        <p:spPr>
          <a:xfrm>
            <a:off x="17739360" y="456458"/>
            <a:ext cx="6181344" cy="6099790"/>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12" name="Tijdelijke aanduiding voor afbeelding 4">
            <a:extLst>
              <a:ext uri="{FF2B5EF4-FFF2-40B4-BE49-F238E27FC236}">
                <a16:creationId xmlns:a16="http://schemas.microsoft.com/office/drawing/2014/main" id="{4F208E46-924A-4483-8EDF-F08E9EC49C3F}"/>
              </a:ext>
            </a:extLst>
          </p:cNvPr>
          <p:cNvSpPr>
            <a:spLocks noGrp="1"/>
          </p:cNvSpPr>
          <p:nvPr>
            <p:ph type="pic" sz="quarter" idx="24" hasCustomPrompt="1"/>
          </p:nvPr>
        </p:nvSpPr>
        <p:spPr>
          <a:xfrm>
            <a:off x="13895832" y="7159752"/>
            <a:ext cx="6181344" cy="6099790"/>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9" name="Tijdelijke aanduiding voor tekst 7">
            <a:extLst>
              <a:ext uri="{FF2B5EF4-FFF2-40B4-BE49-F238E27FC236}">
                <a16:creationId xmlns:a16="http://schemas.microsoft.com/office/drawing/2014/main" id="{BAEC3846-1744-47AC-A35E-183301741532}"/>
              </a:ext>
            </a:extLst>
          </p:cNvPr>
          <p:cNvSpPr>
            <a:spLocks noGrp="1"/>
          </p:cNvSpPr>
          <p:nvPr>
            <p:ph type="body" sz="quarter" idx="14" hasCustomPrompt="1"/>
          </p:nvPr>
        </p:nvSpPr>
        <p:spPr>
          <a:xfrm>
            <a:off x="1712914" y="1620490"/>
            <a:ext cx="10479088" cy="722313"/>
          </a:xfrm>
        </p:spPr>
        <p:txBody>
          <a:bodyPr>
            <a:normAutofit/>
          </a:bodyPr>
          <a:lstStyle>
            <a:lvl1pPr>
              <a:defRPr sz="3000">
                <a:latin typeface="+mj-lt"/>
              </a:defRPr>
            </a:lvl1pPr>
          </a:lstStyle>
          <a:p>
            <a:pPr lvl="0"/>
            <a:r>
              <a:rPr lang="nl-NL"/>
              <a:t>Hoofdstuktitel Deel I: Titel</a:t>
            </a:r>
          </a:p>
        </p:txBody>
      </p:sp>
      <p:sp>
        <p:nvSpPr>
          <p:cNvPr id="10" name="Tijdelijke aanduiding voor datum 4">
            <a:extLst>
              <a:ext uri="{FF2B5EF4-FFF2-40B4-BE49-F238E27FC236}">
                <a16:creationId xmlns:a16="http://schemas.microsoft.com/office/drawing/2014/main" id="{27528214-10C9-4A7F-9816-711F3620AEFC}"/>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13" name="Tijdelijke aanduiding voor voettekst 4">
            <a:extLst>
              <a:ext uri="{FF2B5EF4-FFF2-40B4-BE49-F238E27FC236}">
                <a16:creationId xmlns:a16="http://schemas.microsoft.com/office/drawing/2014/main" id="{3903175F-E458-4CFD-BCA2-575C3297C242}"/>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Tree>
    <p:extLst>
      <p:ext uri="{BB962C8B-B14F-4D97-AF65-F5344CB8AC3E}">
        <p14:creationId xmlns:p14="http://schemas.microsoft.com/office/powerpoint/2010/main" val="2521528042"/>
      </p:ext>
    </p:extLst>
  </p:cSld>
  <p:clrMapOvr>
    <a:masterClrMapping/>
  </p:clrMapOvr>
  <p:transition spd="med"/>
  <p:extLst>
    <p:ext uri="{DCECCB84-F9BA-43D5-87BE-67443E8EF086}">
      <p15:sldGuideLst xmlns:p15="http://schemas.microsoft.com/office/powerpoint/2012/main">
        <p15:guide id="2" pos="7680" userDrawn="1">
          <p15:clr>
            <a:srgbClr val="FBAE40"/>
          </p15:clr>
        </p15:guide>
        <p15:guide id="3" pos="1080" userDrawn="1">
          <p15:clr>
            <a:srgbClr val="FBAE40"/>
          </p15:clr>
        </p15:guide>
        <p15:guide id="4" pos="14597" userDrawn="1">
          <p15:clr>
            <a:srgbClr val="FBAE40"/>
          </p15:clr>
        </p15:guide>
        <p15:guide id="6" orient="horz" pos="7881" userDrawn="1">
          <p15:clr>
            <a:srgbClr val="FBAE40"/>
          </p15:clr>
        </p15:guide>
        <p15:guide id="9" orient="horz" pos="5386"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links 2 afbeeldingen rechts cyaan">
    <p:bg>
      <p:bgPr>
        <a:solidFill>
          <a:schemeClr val="accent2"/>
        </a:solidFill>
        <a:effectLst/>
      </p:bgPr>
    </p:bg>
    <p:spTree>
      <p:nvGrpSpPr>
        <p:cNvPr id="1" name=""/>
        <p:cNvGrpSpPr/>
        <p:nvPr/>
      </p:nvGrpSpPr>
      <p:grpSpPr>
        <a:xfrm>
          <a:off x="0" y="0"/>
          <a:ext cx="0" cy="0"/>
          <a:chOff x="0" y="0"/>
          <a:chExt cx="0" cy="0"/>
        </a:xfrm>
      </p:grpSpPr>
      <p:sp>
        <p:nvSpPr>
          <p:cNvPr id="15" name="Rechthoek 14">
            <a:extLst>
              <a:ext uri="{FF2B5EF4-FFF2-40B4-BE49-F238E27FC236}">
                <a16:creationId xmlns:a16="http://schemas.microsoft.com/office/drawing/2014/main" id="{1AFE6671-DDCC-4D25-B9C3-93566D67CECD}"/>
              </a:ext>
            </a:extLst>
          </p:cNvPr>
          <p:cNvSpPr/>
          <p:nvPr userDrawn="1"/>
        </p:nvSpPr>
        <p:spPr>
          <a:xfrm>
            <a:off x="1" y="0"/>
            <a:ext cx="17228187" cy="137160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FFFFFF"/>
              </a:solidFill>
              <a:effectLst/>
              <a:uFillTx/>
              <a:latin typeface="Source Sans Pro SemiBold" panose="020B0603030403020204" pitchFamily="34" charset="0"/>
              <a:ea typeface="Source Sans Pro SemiBold" panose="020B0603030403020204" pitchFamily="34" charset="0"/>
              <a:cs typeface="Helvetica Neue Medium"/>
              <a:sym typeface="Helvetica Neue Medium"/>
            </a:endParaRPr>
          </a:p>
        </p:txBody>
      </p:sp>
      <p:sp>
        <p:nvSpPr>
          <p:cNvPr id="2" name="Titel 1">
            <a:extLst>
              <a:ext uri="{FF2B5EF4-FFF2-40B4-BE49-F238E27FC236}">
                <a16:creationId xmlns:a16="http://schemas.microsoft.com/office/drawing/2014/main" id="{6CC67F57-CD61-49A2-8791-5C19F7D0C4A4}"/>
              </a:ext>
            </a:extLst>
          </p:cNvPr>
          <p:cNvSpPr>
            <a:spLocks noGrp="1"/>
          </p:cNvSpPr>
          <p:nvPr>
            <p:ph type="title"/>
          </p:nvPr>
        </p:nvSpPr>
        <p:spPr>
          <a:xfrm>
            <a:off x="1712658" y="2516047"/>
            <a:ext cx="10479343" cy="1524272"/>
          </a:xfrm>
        </p:spPr>
        <p:txBody>
          <a:bodyPr/>
          <a:lstStyle/>
          <a:p>
            <a:r>
              <a:rPr lang="nl-NL"/>
              <a:t>Klik om stijl te bewerken</a:t>
            </a:r>
          </a:p>
        </p:txBody>
      </p:sp>
      <p:sp>
        <p:nvSpPr>
          <p:cNvPr id="3" name="Tijdelijke aanduiding voor dianummer 2">
            <a:extLst>
              <a:ext uri="{FF2B5EF4-FFF2-40B4-BE49-F238E27FC236}">
                <a16:creationId xmlns:a16="http://schemas.microsoft.com/office/drawing/2014/main" id="{2FA0DC6E-25B9-412E-A918-174FF2789FD0}"/>
              </a:ext>
            </a:extLst>
          </p:cNvPr>
          <p:cNvSpPr>
            <a:spLocks noGrp="1"/>
          </p:cNvSpPr>
          <p:nvPr>
            <p:ph type="sldNum" sz="quarter" idx="10"/>
          </p:nvPr>
        </p:nvSpPr>
        <p:spPr/>
        <p:txBody>
          <a:bodyPr/>
          <a:lstStyle/>
          <a:p>
            <a:fld id="{86CB4B4D-7CA3-9044-876B-883B54F8677D}" type="slidenum">
              <a:rPr lang="nl-NL" smtClean="0"/>
              <a:pPr/>
              <a:t>‹nr.›</a:t>
            </a:fld>
            <a:endParaRPr lang="nl-NL"/>
          </a:p>
        </p:txBody>
      </p:sp>
      <p:sp>
        <p:nvSpPr>
          <p:cNvPr id="7" name="Tijdelijke aanduiding voor inhoud 6">
            <a:extLst>
              <a:ext uri="{FF2B5EF4-FFF2-40B4-BE49-F238E27FC236}">
                <a16:creationId xmlns:a16="http://schemas.microsoft.com/office/drawing/2014/main" id="{46F2A3CA-7135-4C73-8C32-229646843285}"/>
              </a:ext>
            </a:extLst>
          </p:cNvPr>
          <p:cNvSpPr>
            <a:spLocks noGrp="1"/>
          </p:cNvSpPr>
          <p:nvPr>
            <p:ph sz="quarter" idx="13"/>
          </p:nvPr>
        </p:nvSpPr>
        <p:spPr>
          <a:xfrm>
            <a:off x="1712659" y="4733924"/>
            <a:ext cx="10479342" cy="7765923"/>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1" name="Tijdelijke aanduiding voor afbeelding 4">
            <a:extLst>
              <a:ext uri="{FF2B5EF4-FFF2-40B4-BE49-F238E27FC236}">
                <a16:creationId xmlns:a16="http://schemas.microsoft.com/office/drawing/2014/main" id="{4FFCA041-E12E-4B09-B3E8-7ECFF91B0DE1}"/>
              </a:ext>
            </a:extLst>
          </p:cNvPr>
          <p:cNvSpPr>
            <a:spLocks noGrp="1"/>
          </p:cNvSpPr>
          <p:nvPr>
            <p:ph type="pic" sz="quarter" idx="23" hasCustomPrompt="1"/>
          </p:nvPr>
        </p:nvSpPr>
        <p:spPr>
          <a:xfrm>
            <a:off x="17739360" y="456458"/>
            <a:ext cx="6181344" cy="6099790"/>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12" name="Tijdelijke aanduiding voor afbeelding 4">
            <a:extLst>
              <a:ext uri="{FF2B5EF4-FFF2-40B4-BE49-F238E27FC236}">
                <a16:creationId xmlns:a16="http://schemas.microsoft.com/office/drawing/2014/main" id="{4F208E46-924A-4483-8EDF-F08E9EC49C3F}"/>
              </a:ext>
            </a:extLst>
          </p:cNvPr>
          <p:cNvSpPr>
            <a:spLocks noGrp="1"/>
          </p:cNvSpPr>
          <p:nvPr>
            <p:ph type="pic" sz="quarter" idx="24" hasCustomPrompt="1"/>
          </p:nvPr>
        </p:nvSpPr>
        <p:spPr>
          <a:xfrm>
            <a:off x="13895832" y="7159752"/>
            <a:ext cx="6181344" cy="6099790"/>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10" name="Tijdelijke aanduiding voor tekst 7">
            <a:extLst>
              <a:ext uri="{FF2B5EF4-FFF2-40B4-BE49-F238E27FC236}">
                <a16:creationId xmlns:a16="http://schemas.microsoft.com/office/drawing/2014/main" id="{209A43BF-418D-4481-899F-0D61310C671F}"/>
              </a:ext>
            </a:extLst>
          </p:cNvPr>
          <p:cNvSpPr>
            <a:spLocks noGrp="1"/>
          </p:cNvSpPr>
          <p:nvPr>
            <p:ph type="body" sz="quarter" idx="14" hasCustomPrompt="1"/>
          </p:nvPr>
        </p:nvSpPr>
        <p:spPr>
          <a:xfrm>
            <a:off x="1712914" y="1620490"/>
            <a:ext cx="10479088" cy="722313"/>
          </a:xfrm>
        </p:spPr>
        <p:txBody>
          <a:bodyPr>
            <a:normAutofit/>
          </a:bodyPr>
          <a:lstStyle>
            <a:lvl1pPr>
              <a:defRPr sz="3000">
                <a:latin typeface="+mj-lt"/>
              </a:defRPr>
            </a:lvl1pPr>
          </a:lstStyle>
          <a:p>
            <a:pPr lvl="0"/>
            <a:r>
              <a:rPr lang="nl-NL"/>
              <a:t>Hoofdstuktitel Deel I: Titel</a:t>
            </a:r>
          </a:p>
        </p:txBody>
      </p:sp>
      <p:sp>
        <p:nvSpPr>
          <p:cNvPr id="13" name="Tijdelijke aanduiding voor datum 4">
            <a:extLst>
              <a:ext uri="{FF2B5EF4-FFF2-40B4-BE49-F238E27FC236}">
                <a16:creationId xmlns:a16="http://schemas.microsoft.com/office/drawing/2014/main" id="{C551F10F-E6B2-4282-A824-ED20CD5BE2CD}"/>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14" name="Tijdelijke aanduiding voor voettekst 4">
            <a:extLst>
              <a:ext uri="{FF2B5EF4-FFF2-40B4-BE49-F238E27FC236}">
                <a16:creationId xmlns:a16="http://schemas.microsoft.com/office/drawing/2014/main" id="{523DDB4F-91CF-4C28-8D2A-D609C6C09BA9}"/>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Tree>
    <p:extLst>
      <p:ext uri="{BB962C8B-B14F-4D97-AF65-F5344CB8AC3E}">
        <p14:creationId xmlns:p14="http://schemas.microsoft.com/office/powerpoint/2010/main" val="2825913197"/>
      </p:ext>
    </p:extLst>
  </p:cSld>
  <p:clrMapOvr>
    <a:masterClrMapping/>
  </p:clrMapOvr>
  <p:transition spd="med"/>
  <p:extLst>
    <p:ext uri="{DCECCB84-F9BA-43D5-87BE-67443E8EF086}">
      <p15:sldGuideLst xmlns:p15="http://schemas.microsoft.com/office/powerpoint/2012/main">
        <p15:guide id="9" orient="horz" pos="5386"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 links 2 afbeeldingen rechts lichtgroen">
    <p:bg>
      <p:bgPr>
        <a:solidFill>
          <a:schemeClr val="accent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C67F57-CD61-49A2-8791-5C19F7D0C4A4}"/>
              </a:ext>
            </a:extLst>
          </p:cNvPr>
          <p:cNvSpPr>
            <a:spLocks noGrp="1"/>
          </p:cNvSpPr>
          <p:nvPr>
            <p:ph type="title"/>
          </p:nvPr>
        </p:nvSpPr>
        <p:spPr>
          <a:xfrm>
            <a:off x="1712658" y="2516047"/>
            <a:ext cx="10479343" cy="1524272"/>
          </a:xfrm>
        </p:spPr>
        <p:txBody>
          <a:bodyPr/>
          <a:lstStyle/>
          <a:p>
            <a:r>
              <a:rPr lang="nl-NL"/>
              <a:t>Klik om stijl te bewerken</a:t>
            </a:r>
          </a:p>
        </p:txBody>
      </p:sp>
      <p:sp>
        <p:nvSpPr>
          <p:cNvPr id="3" name="Tijdelijke aanduiding voor dianummer 2">
            <a:extLst>
              <a:ext uri="{FF2B5EF4-FFF2-40B4-BE49-F238E27FC236}">
                <a16:creationId xmlns:a16="http://schemas.microsoft.com/office/drawing/2014/main" id="{2FA0DC6E-25B9-412E-A918-174FF2789FD0}"/>
              </a:ext>
            </a:extLst>
          </p:cNvPr>
          <p:cNvSpPr>
            <a:spLocks noGrp="1"/>
          </p:cNvSpPr>
          <p:nvPr>
            <p:ph type="sldNum" sz="quarter" idx="10"/>
          </p:nvPr>
        </p:nvSpPr>
        <p:spPr/>
        <p:txBody>
          <a:bodyPr/>
          <a:lstStyle/>
          <a:p>
            <a:fld id="{86CB4B4D-7CA3-9044-876B-883B54F8677D}" type="slidenum">
              <a:rPr lang="nl-NL" smtClean="0"/>
              <a:pPr/>
              <a:t>‹nr.›</a:t>
            </a:fld>
            <a:endParaRPr lang="nl-NL"/>
          </a:p>
        </p:txBody>
      </p:sp>
      <p:sp>
        <p:nvSpPr>
          <p:cNvPr id="7" name="Tijdelijke aanduiding voor inhoud 6">
            <a:extLst>
              <a:ext uri="{FF2B5EF4-FFF2-40B4-BE49-F238E27FC236}">
                <a16:creationId xmlns:a16="http://schemas.microsoft.com/office/drawing/2014/main" id="{46F2A3CA-7135-4C73-8C32-229646843285}"/>
              </a:ext>
            </a:extLst>
          </p:cNvPr>
          <p:cNvSpPr>
            <a:spLocks noGrp="1"/>
          </p:cNvSpPr>
          <p:nvPr>
            <p:ph sz="quarter" idx="13"/>
          </p:nvPr>
        </p:nvSpPr>
        <p:spPr>
          <a:xfrm>
            <a:off x="1712659" y="4733924"/>
            <a:ext cx="10479342" cy="7765923"/>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1" name="Tijdelijke aanduiding voor afbeelding 4">
            <a:extLst>
              <a:ext uri="{FF2B5EF4-FFF2-40B4-BE49-F238E27FC236}">
                <a16:creationId xmlns:a16="http://schemas.microsoft.com/office/drawing/2014/main" id="{4FFCA041-E12E-4B09-B3E8-7ECFF91B0DE1}"/>
              </a:ext>
            </a:extLst>
          </p:cNvPr>
          <p:cNvSpPr>
            <a:spLocks noGrp="1"/>
          </p:cNvSpPr>
          <p:nvPr>
            <p:ph type="pic" sz="quarter" idx="23" hasCustomPrompt="1"/>
          </p:nvPr>
        </p:nvSpPr>
        <p:spPr>
          <a:xfrm>
            <a:off x="19671808" y="433182"/>
            <a:ext cx="4184887" cy="4129674"/>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12" name="Tijdelijke aanduiding voor afbeelding 4">
            <a:extLst>
              <a:ext uri="{FF2B5EF4-FFF2-40B4-BE49-F238E27FC236}">
                <a16:creationId xmlns:a16="http://schemas.microsoft.com/office/drawing/2014/main" id="{4F208E46-924A-4483-8EDF-F08E9EC49C3F}"/>
              </a:ext>
            </a:extLst>
          </p:cNvPr>
          <p:cNvSpPr>
            <a:spLocks noGrp="1"/>
          </p:cNvSpPr>
          <p:nvPr>
            <p:ph type="pic" sz="quarter" idx="24" hasCustomPrompt="1"/>
          </p:nvPr>
        </p:nvSpPr>
        <p:spPr>
          <a:xfrm>
            <a:off x="12682728" y="4572000"/>
            <a:ext cx="6970792" cy="6995160"/>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9" name="Tijdelijke aanduiding voor tekst 7">
            <a:extLst>
              <a:ext uri="{FF2B5EF4-FFF2-40B4-BE49-F238E27FC236}">
                <a16:creationId xmlns:a16="http://schemas.microsoft.com/office/drawing/2014/main" id="{2E1860DC-5412-4C4D-B2D4-ED44DC427909}"/>
              </a:ext>
            </a:extLst>
          </p:cNvPr>
          <p:cNvSpPr>
            <a:spLocks noGrp="1"/>
          </p:cNvSpPr>
          <p:nvPr>
            <p:ph type="body" sz="quarter" idx="14" hasCustomPrompt="1"/>
          </p:nvPr>
        </p:nvSpPr>
        <p:spPr>
          <a:xfrm>
            <a:off x="1712914" y="1620490"/>
            <a:ext cx="10479088" cy="722313"/>
          </a:xfrm>
        </p:spPr>
        <p:txBody>
          <a:bodyPr>
            <a:normAutofit/>
          </a:bodyPr>
          <a:lstStyle>
            <a:lvl1pPr>
              <a:defRPr sz="3000">
                <a:latin typeface="+mj-lt"/>
              </a:defRPr>
            </a:lvl1pPr>
          </a:lstStyle>
          <a:p>
            <a:pPr lvl="0"/>
            <a:r>
              <a:rPr lang="nl-NL"/>
              <a:t>Hoofdstuktitel Deel I: Titel</a:t>
            </a:r>
          </a:p>
        </p:txBody>
      </p:sp>
      <p:sp>
        <p:nvSpPr>
          <p:cNvPr id="10" name="Tijdelijke aanduiding voor datum 4">
            <a:extLst>
              <a:ext uri="{FF2B5EF4-FFF2-40B4-BE49-F238E27FC236}">
                <a16:creationId xmlns:a16="http://schemas.microsoft.com/office/drawing/2014/main" id="{18A88900-5083-4469-BACB-39AF03A23B35}"/>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13" name="Tijdelijke aanduiding voor voettekst 4">
            <a:extLst>
              <a:ext uri="{FF2B5EF4-FFF2-40B4-BE49-F238E27FC236}">
                <a16:creationId xmlns:a16="http://schemas.microsoft.com/office/drawing/2014/main" id="{2AD693C6-6435-4C80-B7B7-67F881A67103}"/>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Tree>
    <p:extLst>
      <p:ext uri="{BB962C8B-B14F-4D97-AF65-F5344CB8AC3E}">
        <p14:creationId xmlns:p14="http://schemas.microsoft.com/office/powerpoint/2010/main" val="1237927859"/>
      </p:ext>
    </p:extLst>
  </p:cSld>
  <p:clrMapOvr>
    <a:masterClrMapping/>
  </p:clrMapOvr>
  <p:transition spd="med"/>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Kolomm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C67F57-CD61-49A2-8791-5C19F7D0C4A4}"/>
              </a:ext>
            </a:extLst>
          </p:cNvPr>
          <p:cNvSpPr>
            <a:spLocks noGrp="1"/>
          </p:cNvSpPr>
          <p:nvPr>
            <p:ph type="title"/>
          </p:nvPr>
        </p:nvSpPr>
        <p:spPr/>
        <p:txBody>
          <a:bodyPr/>
          <a:lstStyle/>
          <a:p>
            <a:r>
              <a:rPr lang="nl-NL"/>
              <a:t>Klik om stijl te bewerken</a:t>
            </a:r>
          </a:p>
        </p:txBody>
      </p:sp>
      <p:sp>
        <p:nvSpPr>
          <p:cNvPr id="3" name="Tijdelijke aanduiding voor dianummer 2">
            <a:extLst>
              <a:ext uri="{FF2B5EF4-FFF2-40B4-BE49-F238E27FC236}">
                <a16:creationId xmlns:a16="http://schemas.microsoft.com/office/drawing/2014/main" id="{2FA0DC6E-25B9-412E-A918-174FF2789FD0}"/>
              </a:ext>
            </a:extLst>
          </p:cNvPr>
          <p:cNvSpPr>
            <a:spLocks noGrp="1"/>
          </p:cNvSpPr>
          <p:nvPr>
            <p:ph type="sldNum" sz="quarter" idx="10"/>
          </p:nvPr>
        </p:nvSpPr>
        <p:spPr/>
        <p:txBody>
          <a:bodyPr/>
          <a:lstStyle/>
          <a:p>
            <a:fld id="{86CB4B4D-7CA3-9044-876B-883B54F8677D}" type="slidenum">
              <a:rPr lang="nl-NL" smtClean="0"/>
              <a:pPr/>
              <a:t>‹nr.›</a:t>
            </a:fld>
            <a:endParaRPr lang="nl-NL"/>
          </a:p>
        </p:txBody>
      </p:sp>
      <p:sp>
        <p:nvSpPr>
          <p:cNvPr id="7" name="Tijdelijke aanduiding voor inhoud 6">
            <a:extLst>
              <a:ext uri="{FF2B5EF4-FFF2-40B4-BE49-F238E27FC236}">
                <a16:creationId xmlns:a16="http://schemas.microsoft.com/office/drawing/2014/main" id="{46F2A3CA-7135-4C73-8C32-229646843285}"/>
              </a:ext>
            </a:extLst>
          </p:cNvPr>
          <p:cNvSpPr>
            <a:spLocks noGrp="1"/>
          </p:cNvSpPr>
          <p:nvPr>
            <p:ph sz="quarter" idx="13"/>
          </p:nvPr>
        </p:nvSpPr>
        <p:spPr>
          <a:xfrm>
            <a:off x="1712659" y="4733924"/>
            <a:ext cx="10156254" cy="7765923"/>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8" name="Tijdelijke aanduiding voor inhoud 6">
            <a:extLst>
              <a:ext uri="{FF2B5EF4-FFF2-40B4-BE49-F238E27FC236}">
                <a16:creationId xmlns:a16="http://schemas.microsoft.com/office/drawing/2014/main" id="{D00AA070-8E7E-443F-BB23-820E2193EA11}"/>
              </a:ext>
            </a:extLst>
          </p:cNvPr>
          <p:cNvSpPr>
            <a:spLocks noGrp="1"/>
          </p:cNvSpPr>
          <p:nvPr>
            <p:ph sz="quarter" idx="14"/>
          </p:nvPr>
        </p:nvSpPr>
        <p:spPr>
          <a:xfrm>
            <a:off x="12515087" y="4745164"/>
            <a:ext cx="10156254" cy="7765923"/>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9" name="Tijdelijke aanduiding voor tekst 7">
            <a:extLst>
              <a:ext uri="{FF2B5EF4-FFF2-40B4-BE49-F238E27FC236}">
                <a16:creationId xmlns:a16="http://schemas.microsoft.com/office/drawing/2014/main" id="{EA214919-DE0B-49A7-9EE0-9B37E1204CBC}"/>
              </a:ext>
            </a:extLst>
          </p:cNvPr>
          <p:cNvSpPr>
            <a:spLocks noGrp="1"/>
          </p:cNvSpPr>
          <p:nvPr>
            <p:ph type="body" sz="quarter" idx="15" hasCustomPrompt="1"/>
          </p:nvPr>
        </p:nvSpPr>
        <p:spPr>
          <a:xfrm>
            <a:off x="1712914" y="1620490"/>
            <a:ext cx="21464586" cy="722313"/>
          </a:xfrm>
        </p:spPr>
        <p:txBody>
          <a:bodyPr>
            <a:normAutofit/>
          </a:bodyPr>
          <a:lstStyle>
            <a:lvl1pPr>
              <a:defRPr sz="3000">
                <a:latin typeface="+mj-lt"/>
              </a:defRPr>
            </a:lvl1pPr>
          </a:lstStyle>
          <a:p>
            <a:pPr lvl="0"/>
            <a:r>
              <a:rPr lang="nl-NL"/>
              <a:t>Hoofdstuktitel Deel I: Titel</a:t>
            </a:r>
          </a:p>
        </p:txBody>
      </p:sp>
      <p:sp>
        <p:nvSpPr>
          <p:cNvPr id="10" name="Tijdelijke aanduiding voor datum 4">
            <a:extLst>
              <a:ext uri="{FF2B5EF4-FFF2-40B4-BE49-F238E27FC236}">
                <a16:creationId xmlns:a16="http://schemas.microsoft.com/office/drawing/2014/main" id="{9372380E-2C80-438F-B8AF-2E39EFF13F11}"/>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11" name="Tijdelijke aanduiding voor voettekst 4">
            <a:extLst>
              <a:ext uri="{FF2B5EF4-FFF2-40B4-BE49-F238E27FC236}">
                <a16:creationId xmlns:a16="http://schemas.microsoft.com/office/drawing/2014/main" id="{7A4DD4E4-4265-4201-8FDC-AEB949BE3850}"/>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Tree>
    <p:extLst>
      <p:ext uri="{BB962C8B-B14F-4D97-AF65-F5344CB8AC3E}">
        <p14:creationId xmlns:p14="http://schemas.microsoft.com/office/powerpoint/2010/main" val="3498813294"/>
      </p:ext>
    </p:extLst>
  </p:cSld>
  <p:clrMapOvr>
    <a:masterClrMapping/>
  </p:clrMapOvr>
  <p:transition spd="med"/>
  <p:extLst>
    <p:ext uri="{DCECCB84-F9BA-43D5-87BE-67443E8EF086}">
      <p15:sldGuideLst xmlns:p15="http://schemas.microsoft.com/office/powerpoint/2012/main">
        <p15:guide id="9" orient="horz" pos="5386"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kst  rechts 2 afbeeldingen links wi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C67F57-CD61-49A2-8791-5C19F7D0C4A4}"/>
              </a:ext>
            </a:extLst>
          </p:cNvPr>
          <p:cNvSpPr>
            <a:spLocks noGrp="1"/>
          </p:cNvSpPr>
          <p:nvPr>
            <p:ph type="title"/>
          </p:nvPr>
        </p:nvSpPr>
        <p:spPr>
          <a:xfrm>
            <a:off x="12515086" y="2516047"/>
            <a:ext cx="10662413" cy="1524272"/>
          </a:xfrm>
        </p:spPr>
        <p:txBody>
          <a:bodyPr/>
          <a:lstStyle/>
          <a:p>
            <a:r>
              <a:rPr lang="nl-NL"/>
              <a:t>Klik om stijl te bewerken</a:t>
            </a:r>
          </a:p>
        </p:txBody>
      </p:sp>
      <p:sp>
        <p:nvSpPr>
          <p:cNvPr id="3" name="Tijdelijke aanduiding voor dianummer 2">
            <a:extLst>
              <a:ext uri="{FF2B5EF4-FFF2-40B4-BE49-F238E27FC236}">
                <a16:creationId xmlns:a16="http://schemas.microsoft.com/office/drawing/2014/main" id="{2FA0DC6E-25B9-412E-A918-174FF2789FD0}"/>
              </a:ext>
            </a:extLst>
          </p:cNvPr>
          <p:cNvSpPr>
            <a:spLocks noGrp="1"/>
          </p:cNvSpPr>
          <p:nvPr>
            <p:ph type="sldNum" sz="quarter" idx="10"/>
          </p:nvPr>
        </p:nvSpPr>
        <p:spPr/>
        <p:txBody>
          <a:bodyPr/>
          <a:lstStyle/>
          <a:p>
            <a:fld id="{86CB4B4D-7CA3-9044-876B-883B54F8677D}" type="slidenum">
              <a:rPr lang="nl-NL" smtClean="0"/>
              <a:pPr/>
              <a:t>‹nr.›</a:t>
            </a:fld>
            <a:endParaRPr lang="nl-NL"/>
          </a:p>
        </p:txBody>
      </p:sp>
      <p:sp>
        <p:nvSpPr>
          <p:cNvPr id="8" name="Tijdelijke aanduiding voor inhoud 6">
            <a:extLst>
              <a:ext uri="{FF2B5EF4-FFF2-40B4-BE49-F238E27FC236}">
                <a16:creationId xmlns:a16="http://schemas.microsoft.com/office/drawing/2014/main" id="{D00AA070-8E7E-443F-BB23-820E2193EA11}"/>
              </a:ext>
            </a:extLst>
          </p:cNvPr>
          <p:cNvSpPr>
            <a:spLocks noGrp="1"/>
          </p:cNvSpPr>
          <p:nvPr>
            <p:ph sz="quarter" idx="14"/>
          </p:nvPr>
        </p:nvSpPr>
        <p:spPr>
          <a:xfrm>
            <a:off x="12515086" y="4733924"/>
            <a:ext cx="10657651" cy="7777163"/>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2" name="Tijdelijke aanduiding voor afbeelding 4">
            <a:extLst>
              <a:ext uri="{FF2B5EF4-FFF2-40B4-BE49-F238E27FC236}">
                <a16:creationId xmlns:a16="http://schemas.microsoft.com/office/drawing/2014/main" id="{4385EBEF-447C-4B0B-A94B-2F099C860681}"/>
              </a:ext>
            </a:extLst>
          </p:cNvPr>
          <p:cNvSpPr>
            <a:spLocks noGrp="1"/>
          </p:cNvSpPr>
          <p:nvPr>
            <p:ph type="pic" sz="quarter" idx="23" hasCustomPrompt="1"/>
          </p:nvPr>
        </p:nvSpPr>
        <p:spPr>
          <a:xfrm>
            <a:off x="1716360" y="8367603"/>
            <a:ext cx="3362796" cy="3318429"/>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13" name="Tijdelijke aanduiding voor afbeelding 4">
            <a:extLst>
              <a:ext uri="{FF2B5EF4-FFF2-40B4-BE49-F238E27FC236}">
                <a16:creationId xmlns:a16="http://schemas.microsoft.com/office/drawing/2014/main" id="{024C9BB8-ACEE-4675-B42D-CC6AB34CA284}"/>
              </a:ext>
            </a:extLst>
          </p:cNvPr>
          <p:cNvSpPr>
            <a:spLocks noGrp="1"/>
          </p:cNvSpPr>
          <p:nvPr>
            <p:ph type="pic" sz="quarter" idx="24" hasCustomPrompt="1"/>
          </p:nvPr>
        </p:nvSpPr>
        <p:spPr>
          <a:xfrm>
            <a:off x="5096286" y="1898533"/>
            <a:ext cx="6434633" cy="6457127"/>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10" name="Tijdelijke aanduiding voor tekst 7">
            <a:extLst>
              <a:ext uri="{FF2B5EF4-FFF2-40B4-BE49-F238E27FC236}">
                <a16:creationId xmlns:a16="http://schemas.microsoft.com/office/drawing/2014/main" id="{ECEB990E-AD3E-454D-85FA-72821B68943F}"/>
              </a:ext>
            </a:extLst>
          </p:cNvPr>
          <p:cNvSpPr>
            <a:spLocks noGrp="1"/>
          </p:cNvSpPr>
          <p:nvPr>
            <p:ph type="body" sz="quarter" idx="25" hasCustomPrompt="1"/>
          </p:nvPr>
        </p:nvSpPr>
        <p:spPr>
          <a:xfrm>
            <a:off x="12515086" y="1620490"/>
            <a:ext cx="10662414" cy="722313"/>
          </a:xfrm>
        </p:spPr>
        <p:txBody>
          <a:bodyPr>
            <a:normAutofit/>
          </a:bodyPr>
          <a:lstStyle>
            <a:lvl1pPr>
              <a:defRPr sz="3000">
                <a:latin typeface="+mj-lt"/>
              </a:defRPr>
            </a:lvl1pPr>
          </a:lstStyle>
          <a:p>
            <a:pPr lvl="0"/>
            <a:r>
              <a:rPr lang="nl-NL"/>
              <a:t>Hoofdstuktitel Deel I: Titel</a:t>
            </a:r>
          </a:p>
        </p:txBody>
      </p:sp>
      <p:sp>
        <p:nvSpPr>
          <p:cNvPr id="11" name="Tijdelijke aanduiding voor datum 4">
            <a:extLst>
              <a:ext uri="{FF2B5EF4-FFF2-40B4-BE49-F238E27FC236}">
                <a16:creationId xmlns:a16="http://schemas.microsoft.com/office/drawing/2014/main" id="{8D916041-D335-4F5A-A07F-666D874A1182}"/>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14" name="Tijdelijke aanduiding voor voettekst 4">
            <a:extLst>
              <a:ext uri="{FF2B5EF4-FFF2-40B4-BE49-F238E27FC236}">
                <a16:creationId xmlns:a16="http://schemas.microsoft.com/office/drawing/2014/main" id="{1853DF79-A72A-4861-AD64-AADB37E8DAA1}"/>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Tree>
    <p:extLst>
      <p:ext uri="{BB962C8B-B14F-4D97-AF65-F5344CB8AC3E}">
        <p14:creationId xmlns:p14="http://schemas.microsoft.com/office/powerpoint/2010/main" val="4179410134"/>
      </p:ext>
    </p:extLst>
  </p:cSld>
  <p:clrMapOvr>
    <a:masterClrMapping/>
  </p:clrMapOvr>
  <p:transition spd="med"/>
  <p:extLst>
    <p:ext uri="{DCECCB84-F9BA-43D5-87BE-67443E8EF086}">
      <p15:sldGuideLst xmlns:p15="http://schemas.microsoft.com/office/powerpoint/2012/main">
        <p15:guide id="9" orient="horz" pos="5386"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kst  rechts 1 afbeelding links wi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C67F57-CD61-49A2-8791-5C19F7D0C4A4}"/>
              </a:ext>
            </a:extLst>
          </p:cNvPr>
          <p:cNvSpPr>
            <a:spLocks noGrp="1"/>
          </p:cNvSpPr>
          <p:nvPr>
            <p:ph type="title"/>
          </p:nvPr>
        </p:nvSpPr>
        <p:spPr>
          <a:xfrm>
            <a:off x="12515086" y="2516047"/>
            <a:ext cx="10662413" cy="1524272"/>
          </a:xfrm>
        </p:spPr>
        <p:txBody>
          <a:bodyPr/>
          <a:lstStyle/>
          <a:p>
            <a:r>
              <a:rPr lang="nl-NL"/>
              <a:t>Klik om stijl te bewerken</a:t>
            </a:r>
          </a:p>
        </p:txBody>
      </p:sp>
      <p:sp>
        <p:nvSpPr>
          <p:cNvPr id="3" name="Tijdelijke aanduiding voor dianummer 2">
            <a:extLst>
              <a:ext uri="{FF2B5EF4-FFF2-40B4-BE49-F238E27FC236}">
                <a16:creationId xmlns:a16="http://schemas.microsoft.com/office/drawing/2014/main" id="{2FA0DC6E-25B9-412E-A918-174FF2789FD0}"/>
              </a:ext>
            </a:extLst>
          </p:cNvPr>
          <p:cNvSpPr>
            <a:spLocks noGrp="1"/>
          </p:cNvSpPr>
          <p:nvPr>
            <p:ph type="sldNum" sz="quarter" idx="10"/>
          </p:nvPr>
        </p:nvSpPr>
        <p:spPr/>
        <p:txBody>
          <a:bodyPr/>
          <a:lstStyle/>
          <a:p>
            <a:fld id="{86CB4B4D-7CA3-9044-876B-883B54F8677D}" type="slidenum">
              <a:rPr lang="nl-NL" smtClean="0"/>
              <a:pPr/>
              <a:t>‹nr.›</a:t>
            </a:fld>
            <a:endParaRPr lang="nl-NL"/>
          </a:p>
        </p:txBody>
      </p:sp>
      <p:sp>
        <p:nvSpPr>
          <p:cNvPr id="8" name="Tijdelijke aanduiding voor inhoud 6">
            <a:extLst>
              <a:ext uri="{FF2B5EF4-FFF2-40B4-BE49-F238E27FC236}">
                <a16:creationId xmlns:a16="http://schemas.microsoft.com/office/drawing/2014/main" id="{D00AA070-8E7E-443F-BB23-820E2193EA11}"/>
              </a:ext>
            </a:extLst>
          </p:cNvPr>
          <p:cNvSpPr>
            <a:spLocks noGrp="1"/>
          </p:cNvSpPr>
          <p:nvPr>
            <p:ph sz="quarter" idx="14"/>
          </p:nvPr>
        </p:nvSpPr>
        <p:spPr>
          <a:xfrm>
            <a:off x="12515087" y="4733924"/>
            <a:ext cx="10657650" cy="7777163"/>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3" name="Tijdelijke aanduiding voor afbeelding 4">
            <a:extLst>
              <a:ext uri="{FF2B5EF4-FFF2-40B4-BE49-F238E27FC236}">
                <a16:creationId xmlns:a16="http://schemas.microsoft.com/office/drawing/2014/main" id="{024C9BB8-ACEE-4675-B42D-CC6AB34CA284}"/>
              </a:ext>
            </a:extLst>
          </p:cNvPr>
          <p:cNvSpPr>
            <a:spLocks noGrp="1"/>
          </p:cNvSpPr>
          <p:nvPr>
            <p:ph type="pic" sz="quarter" idx="24" hasCustomPrompt="1"/>
          </p:nvPr>
        </p:nvSpPr>
        <p:spPr>
          <a:xfrm>
            <a:off x="2139696" y="2430050"/>
            <a:ext cx="8464265" cy="8442166"/>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10" name="Tijdelijke aanduiding voor tekst 7">
            <a:extLst>
              <a:ext uri="{FF2B5EF4-FFF2-40B4-BE49-F238E27FC236}">
                <a16:creationId xmlns:a16="http://schemas.microsoft.com/office/drawing/2014/main" id="{C6DB714F-F21F-4853-AD66-F9D57CDC73CC}"/>
              </a:ext>
            </a:extLst>
          </p:cNvPr>
          <p:cNvSpPr>
            <a:spLocks noGrp="1"/>
          </p:cNvSpPr>
          <p:nvPr>
            <p:ph type="body" sz="quarter" idx="25" hasCustomPrompt="1"/>
          </p:nvPr>
        </p:nvSpPr>
        <p:spPr>
          <a:xfrm>
            <a:off x="12515087" y="1620490"/>
            <a:ext cx="10662413" cy="722313"/>
          </a:xfrm>
        </p:spPr>
        <p:txBody>
          <a:bodyPr>
            <a:normAutofit/>
          </a:bodyPr>
          <a:lstStyle>
            <a:lvl1pPr>
              <a:defRPr sz="3000">
                <a:latin typeface="+mj-lt"/>
              </a:defRPr>
            </a:lvl1pPr>
          </a:lstStyle>
          <a:p>
            <a:pPr lvl="0"/>
            <a:r>
              <a:rPr lang="nl-NL"/>
              <a:t>Hoofdstuktitel Deel I: Titel</a:t>
            </a:r>
          </a:p>
        </p:txBody>
      </p:sp>
      <p:sp>
        <p:nvSpPr>
          <p:cNvPr id="11" name="Tijdelijke aanduiding voor datum 4">
            <a:extLst>
              <a:ext uri="{FF2B5EF4-FFF2-40B4-BE49-F238E27FC236}">
                <a16:creationId xmlns:a16="http://schemas.microsoft.com/office/drawing/2014/main" id="{02397094-920B-4418-AEEC-408D08524F61}"/>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12" name="Tijdelijke aanduiding voor voettekst 4">
            <a:extLst>
              <a:ext uri="{FF2B5EF4-FFF2-40B4-BE49-F238E27FC236}">
                <a16:creationId xmlns:a16="http://schemas.microsoft.com/office/drawing/2014/main" id="{7308F9EC-7B3B-4AC6-90B4-3DF92A67AEE4}"/>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Tree>
    <p:extLst>
      <p:ext uri="{BB962C8B-B14F-4D97-AF65-F5344CB8AC3E}">
        <p14:creationId xmlns:p14="http://schemas.microsoft.com/office/powerpoint/2010/main" val="3790387852"/>
      </p:ext>
    </p:extLst>
  </p:cSld>
  <p:clrMapOvr>
    <a:masterClrMapping/>
  </p:clrMapOvr>
  <p:transition spd="med"/>
  <p:extLst>
    <p:ext uri="{DCECCB84-F9BA-43D5-87BE-67443E8EF086}">
      <p15:sldGuideLst xmlns:p15="http://schemas.microsoft.com/office/powerpoint/2012/main">
        <p15:guide id="9" orient="horz" pos="5386"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kst links 1 afbeelding rechts rood">
    <p:bg>
      <p:bgPr>
        <a:solidFill>
          <a:schemeClr val="accent5"/>
        </a:solidFill>
        <a:effectLst/>
      </p:bgPr>
    </p:bg>
    <p:spTree>
      <p:nvGrpSpPr>
        <p:cNvPr id="1" name=""/>
        <p:cNvGrpSpPr/>
        <p:nvPr/>
      </p:nvGrpSpPr>
      <p:grpSpPr>
        <a:xfrm>
          <a:off x="0" y="0"/>
          <a:ext cx="0" cy="0"/>
          <a:chOff x="0" y="0"/>
          <a:chExt cx="0" cy="0"/>
        </a:xfrm>
      </p:grpSpPr>
      <p:sp>
        <p:nvSpPr>
          <p:cNvPr id="15" name="Rechthoek 14">
            <a:extLst>
              <a:ext uri="{FF2B5EF4-FFF2-40B4-BE49-F238E27FC236}">
                <a16:creationId xmlns:a16="http://schemas.microsoft.com/office/drawing/2014/main" id="{68749D24-5044-4DA7-9C0B-4D86AABE55D0}"/>
              </a:ext>
            </a:extLst>
          </p:cNvPr>
          <p:cNvSpPr/>
          <p:nvPr userDrawn="1"/>
        </p:nvSpPr>
        <p:spPr>
          <a:xfrm>
            <a:off x="1" y="0"/>
            <a:ext cx="17228187" cy="137160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FFFFFF"/>
              </a:solidFill>
              <a:effectLst/>
              <a:uFillTx/>
              <a:latin typeface="Source Sans Pro SemiBold" panose="020B0603030403020204" pitchFamily="34" charset="0"/>
              <a:ea typeface="Source Sans Pro SemiBold" panose="020B0603030403020204" pitchFamily="34" charset="0"/>
              <a:cs typeface="Helvetica Neue Medium"/>
              <a:sym typeface="Helvetica Neue Medium"/>
            </a:endParaRPr>
          </a:p>
        </p:txBody>
      </p:sp>
      <p:sp>
        <p:nvSpPr>
          <p:cNvPr id="2" name="Titel 1">
            <a:extLst>
              <a:ext uri="{FF2B5EF4-FFF2-40B4-BE49-F238E27FC236}">
                <a16:creationId xmlns:a16="http://schemas.microsoft.com/office/drawing/2014/main" id="{6CC67F57-CD61-49A2-8791-5C19F7D0C4A4}"/>
              </a:ext>
            </a:extLst>
          </p:cNvPr>
          <p:cNvSpPr>
            <a:spLocks noGrp="1"/>
          </p:cNvSpPr>
          <p:nvPr>
            <p:ph type="title"/>
          </p:nvPr>
        </p:nvSpPr>
        <p:spPr>
          <a:xfrm>
            <a:off x="1712658" y="2516047"/>
            <a:ext cx="10156254" cy="1524272"/>
          </a:xfrm>
        </p:spPr>
        <p:txBody>
          <a:bodyPr/>
          <a:lstStyle/>
          <a:p>
            <a:r>
              <a:rPr lang="nl-NL"/>
              <a:t>Klik om stijl te bewerken</a:t>
            </a:r>
          </a:p>
        </p:txBody>
      </p:sp>
      <p:sp>
        <p:nvSpPr>
          <p:cNvPr id="3" name="Tijdelijke aanduiding voor dianummer 2">
            <a:extLst>
              <a:ext uri="{FF2B5EF4-FFF2-40B4-BE49-F238E27FC236}">
                <a16:creationId xmlns:a16="http://schemas.microsoft.com/office/drawing/2014/main" id="{2FA0DC6E-25B9-412E-A918-174FF2789FD0}"/>
              </a:ext>
            </a:extLst>
          </p:cNvPr>
          <p:cNvSpPr>
            <a:spLocks noGrp="1"/>
          </p:cNvSpPr>
          <p:nvPr>
            <p:ph type="sldNum" sz="quarter" idx="10"/>
          </p:nvPr>
        </p:nvSpPr>
        <p:spPr/>
        <p:txBody>
          <a:bodyPr/>
          <a:lstStyle/>
          <a:p>
            <a:fld id="{86CB4B4D-7CA3-9044-876B-883B54F8677D}" type="slidenum">
              <a:rPr lang="nl-NL" smtClean="0"/>
              <a:pPr/>
              <a:t>‹nr.›</a:t>
            </a:fld>
            <a:endParaRPr lang="nl-NL"/>
          </a:p>
        </p:txBody>
      </p:sp>
      <p:sp>
        <p:nvSpPr>
          <p:cNvPr id="7" name="Tijdelijke aanduiding voor inhoud 6">
            <a:extLst>
              <a:ext uri="{FF2B5EF4-FFF2-40B4-BE49-F238E27FC236}">
                <a16:creationId xmlns:a16="http://schemas.microsoft.com/office/drawing/2014/main" id="{46F2A3CA-7135-4C73-8C32-229646843285}"/>
              </a:ext>
            </a:extLst>
          </p:cNvPr>
          <p:cNvSpPr>
            <a:spLocks noGrp="1"/>
          </p:cNvSpPr>
          <p:nvPr>
            <p:ph sz="quarter" idx="13"/>
          </p:nvPr>
        </p:nvSpPr>
        <p:spPr>
          <a:xfrm>
            <a:off x="1712659" y="4733924"/>
            <a:ext cx="10156254" cy="7765923"/>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2" name="Tijdelijke aanduiding voor afbeelding 4">
            <a:extLst>
              <a:ext uri="{FF2B5EF4-FFF2-40B4-BE49-F238E27FC236}">
                <a16:creationId xmlns:a16="http://schemas.microsoft.com/office/drawing/2014/main" id="{DC289140-C3A7-4261-9C03-4C54F9CC7553}"/>
              </a:ext>
            </a:extLst>
          </p:cNvPr>
          <p:cNvSpPr>
            <a:spLocks noGrp="1"/>
          </p:cNvSpPr>
          <p:nvPr>
            <p:ph type="pic" sz="quarter" idx="24" hasCustomPrompt="1"/>
          </p:nvPr>
        </p:nvSpPr>
        <p:spPr>
          <a:xfrm>
            <a:off x="13587984" y="2430050"/>
            <a:ext cx="8464265" cy="8442166"/>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9" name="Tijdelijke aanduiding voor tekst 7">
            <a:extLst>
              <a:ext uri="{FF2B5EF4-FFF2-40B4-BE49-F238E27FC236}">
                <a16:creationId xmlns:a16="http://schemas.microsoft.com/office/drawing/2014/main" id="{552846D4-43FF-43E8-BC44-A74650F8A23F}"/>
              </a:ext>
            </a:extLst>
          </p:cNvPr>
          <p:cNvSpPr>
            <a:spLocks noGrp="1"/>
          </p:cNvSpPr>
          <p:nvPr>
            <p:ph type="body" sz="quarter" idx="14" hasCustomPrompt="1"/>
          </p:nvPr>
        </p:nvSpPr>
        <p:spPr>
          <a:xfrm>
            <a:off x="1712913" y="1620490"/>
            <a:ext cx="21464587" cy="722313"/>
          </a:xfrm>
        </p:spPr>
        <p:txBody>
          <a:bodyPr>
            <a:normAutofit/>
          </a:bodyPr>
          <a:lstStyle>
            <a:lvl1pPr>
              <a:defRPr sz="3000">
                <a:latin typeface="+mj-lt"/>
              </a:defRPr>
            </a:lvl1pPr>
          </a:lstStyle>
          <a:p>
            <a:pPr lvl="0"/>
            <a:r>
              <a:rPr lang="nl-NL"/>
              <a:t>Hoofdstuktitel Deel I: Titel</a:t>
            </a:r>
          </a:p>
        </p:txBody>
      </p:sp>
      <p:sp>
        <p:nvSpPr>
          <p:cNvPr id="11" name="Tijdelijke aanduiding voor datum 4">
            <a:extLst>
              <a:ext uri="{FF2B5EF4-FFF2-40B4-BE49-F238E27FC236}">
                <a16:creationId xmlns:a16="http://schemas.microsoft.com/office/drawing/2014/main" id="{EAD5FDF8-7BFF-427F-9C79-0306F5B89CBF}"/>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13" name="Tijdelijke aanduiding voor voettekst 4">
            <a:extLst>
              <a:ext uri="{FF2B5EF4-FFF2-40B4-BE49-F238E27FC236}">
                <a16:creationId xmlns:a16="http://schemas.microsoft.com/office/drawing/2014/main" id="{C085BB42-DA21-46B2-8E70-20F5F5B120AC}"/>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Tree>
    <p:extLst>
      <p:ext uri="{BB962C8B-B14F-4D97-AF65-F5344CB8AC3E}">
        <p14:creationId xmlns:p14="http://schemas.microsoft.com/office/powerpoint/2010/main" val="2826386003"/>
      </p:ext>
    </p:extLst>
  </p:cSld>
  <p:clrMapOvr>
    <a:masterClrMapping/>
  </p:clrMapOvr>
  <p:transition spd="med"/>
  <p:extLst>
    <p:ext uri="{DCECCB84-F9BA-43D5-87BE-67443E8EF086}">
      <p15:sldGuideLst xmlns:p15="http://schemas.microsoft.com/office/powerpoint/2012/main">
        <p15:guide id="4" pos="14597" userDrawn="1">
          <p15:clr>
            <a:srgbClr val="FBAE40"/>
          </p15:clr>
        </p15:guide>
        <p15:guide id="9" orient="horz" pos="5386"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kst links 1 afbeelding rechts geel">
    <p:bg>
      <p:bgPr>
        <a:solidFill>
          <a:schemeClr val="accent4"/>
        </a:solidFill>
        <a:effectLst/>
      </p:bgPr>
    </p:bg>
    <p:spTree>
      <p:nvGrpSpPr>
        <p:cNvPr id="1" name=""/>
        <p:cNvGrpSpPr/>
        <p:nvPr/>
      </p:nvGrpSpPr>
      <p:grpSpPr>
        <a:xfrm>
          <a:off x="0" y="0"/>
          <a:ext cx="0" cy="0"/>
          <a:chOff x="0" y="0"/>
          <a:chExt cx="0" cy="0"/>
        </a:xfrm>
      </p:grpSpPr>
      <p:sp>
        <p:nvSpPr>
          <p:cNvPr id="10" name="Rechthoek 9">
            <a:extLst>
              <a:ext uri="{FF2B5EF4-FFF2-40B4-BE49-F238E27FC236}">
                <a16:creationId xmlns:a16="http://schemas.microsoft.com/office/drawing/2014/main" id="{63031E1F-051E-4BD6-AAE0-F84D88C20ADF}"/>
              </a:ext>
            </a:extLst>
          </p:cNvPr>
          <p:cNvSpPr/>
          <p:nvPr userDrawn="1"/>
        </p:nvSpPr>
        <p:spPr>
          <a:xfrm>
            <a:off x="1" y="0"/>
            <a:ext cx="17228187" cy="137160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FFFFFF"/>
              </a:solidFill>
              <a:effectLst/>
              <a:uFillTx/>
              <a:latin typeface="Source Sans Pro SemiBold" panose="020B0603030403020204" pitchFamily="34" charset="0"/>
              <a:ea typeface="Source Sans Pro SemiBold" panose="020B0603030403020204" pitchFamily="34" charset="0"/>
              <a:cs typeface="Helvetica Neue Medium"/>
              <a:sym typeface="Helvetica Neue Medium"/>
            </a:endParaRPr>
          </a:p>
        </p:txBody>
      </p:sp>
      <p:sp>
        <p:nvSpPr>
          <p:cNvPr id="2" name="Titel 1">
            <a:extLst>
              <a:ext uri="{FF2B5EF4-FFF2-40B4-BE49-F238E27FC236}">
                <a16:creationId xmlns:a16="http://schemas.microsoft.com/office/drawing/2014/main" id="{6CC67F57-CD61-49A2-8791-5C19F7D0C4A4}"/>
              </a:ext>
            </a:extLst>
          </p:cNvPr>
          <p:cNvSpPr>
            <a:spLocks noGrp="1"/>
          </p:cNvSpPr>
          <p:nvPr>
            <p:ph type="title"/>
          </p:nvPr>
        </p:nvSpPr>
        <p:spPr>
          <a:xfrm>
            <a:off x="1712658" y="2516047"/>
            <a:ext cx="10156254" cy="1524272"/>
          </a:xfrm>
        </p:spPr>
        <p:txBody>
          <a:bodyPr/>
          <a:lstStyle/>
          <a:p>
            <a:r>
              <a:rPr lang="nl-NL"/>
              <a:t>Klik om stijl te bewerken</a:t>
            </a:r>
          </a:p>
        </p:txBody>
      </p:sp>
      <p:sp>
        <p:nvSpPr>
          <p:cNvPr id="3" name="Tijdelijke aanduiding voor dianummer 2">
            <a:extLst>
              <a:ext uri="{FF2B5EF4-FFF2-40B4-BE49-F238E27FC236}">
                <a16:creationId xmlns:a16="http://schemas.microsoft.com/office/drawing/2014/main" id="{2FA0DC6E-25B9-412E-A918-174FF2789FD0}"/>
              </a:ext>
            </a:extLst>
          </p:cNvPr>
          <p:cNvSpPr>
            <a:spLocks noGrp="1"/>
          </p:cNvSpPr>
          <p:nvPr>
            <p:ph type="sldNum" sz="quarter" idx="10"/>
          </p:nvPr>
        </p:nvSpPr>
        <p:spPr/>
        <p:txBody>
          <a:bodyPr/>
          <a:lstStyle/>
          <a:p>
            <a:fld id="{86CB4B4D-7CA3-9044-876B-883B54F8677D}" type="slidenum">
              <a:rPr lang="nl-NL" smtClean="0"/>
              <a:pPr/>
              <a:t>‹nr.›</a:t>
            </a:fld>
            <a:endParaRPr lang="nl-NL"/>
          </a:p>
        </p:txBody>
      </p:sp>
      <p:sp>
        <p:nvSpPr>
          <p:cNvPr id="7" name="Tijdelijke aanduiding voor inhoud 6">
            <a:extLst>
              <a:ext uri="{FF2B5EF4-FFF2-40B4-BE49-F238E27FC236}">
                <a16:creationId xmlns:a16="http://schemas.microsoft.com/office/drawing/2014/main" id="{46F2A3CA-7135-4C73-8C32-229646843285}"/>
              </a:ext>
            </a:extLst>
          </p:cNvPr>
          <p:cNvSpPr>
            <a:spLocks noGrp="1"/>
          </p:cNvSpPr>
          <p:nvPr>
            <p:ph sz="quarter" idx="13"/>
          </p:nvPr>
        </p:nvSpPr>
        <p:spPr>
          <a:xfrm>
            <a:off x="1712659" y="4733924"/>
            <a:ext cx="10156254" cy="7765923"/>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2" name="Tijdelijke aanduiding voor afbeelding 4">
            <a:extLst>
              <a:ext uri="{FF2B5EF4-FFF2-40B4-BE49-F238E27FC236}">
                <a16:creationId xmlns:a16="http://schemas.microsoft.com/office/drawing/2014/main" id="{DC289140-C3A7-4261-9C03-4C54F9CC7553}"/>
              </a:ext>
            </a:extLst>
          </p:cNvPr>
          <p:cNvSpPr>
            <a:spLocks noGrp="1"/>
          </p:cNvSpPr>
          <p:nvPr>
            <p:ph type="pic" sz="quarter" idx="24" hasCustomPrompt="1"/>
          </p:nvPr>
        </p:nvSpPr>
        <p:spPr>
          <a:xfrm>
            <a:off x="13587984" y="2430050"/>
            <a:ext cx="8464265" cy="8442166"/>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9" name="Tijdelijke aanduiding voor tekst 7">
            <a:extLst>
              <a:ext uri="{FF2B5EF4-FFF2-40B4-BE49-F238E27FC236}">
                <a16:creationId xmlns:a16="http://schemas.microsoft.com/office/drawing/2014/main" id="{552846D4-43FF-43E8-BC44-A74650F8A23F}"/>
              </a:ext>
            </a:extLst>
          </p:cNvPr>
          <p:cNvSpPr>
            <a:spLocks noGrp="1"/>
          </p:cNvSpPr>
          <p:nvPr>
            <p:ph type="body" sz="quarter" idx="14" hasCustomPrompt="1"/>
          </p:nvPr>
        </p:nvSpPr>
        <p:spPr>
          <a:xfrm>
            <a:off x="1712913" y="1620490"/>
            <a:ext cx="21464587" cy="722313"/>
          </a:xfrm>
        </p:spPr>
        <p:txBody>
          <a:bodyPr>
            <a:normAutofit/>
          </a:bodyPr>
          <a:lstStyle>
            <a:lvl1pPr>
              <a:defRPr sz="3000">
                <a:latin typeface="+mj-lt"/>
              </a:defRPr>
            </a:lvl1pPr>
          </a:lstStyle>
          <a:p>
            <a:pPr lvl="0"/>
            <a:r>
              <a:rPr lang="nl-NL"/>
              <a:t>Hoofdstuktitel Deel I: Titel</a:t>
            </a:r>
          </a:p>
        </p:txBody>
      </p:sp>
      <p:sp>
        <p:nvSpPr>
          <p:cNvPr id="11" name="Tijdelijke aanduiding voor datum 4">
            <a:extLst>
              <a:ext uri="{FF2B5EF4-FFF2-40B4-BE49-F238E27FC236}">
                <a16:creationId xmlns:a16="http://schemas.microsoft.com/office/drawing/2014/main" id="{EAD5FDF8-7BFF-427F-9C79-0306F5B89CBF}"/>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13" name="Tijdelijke aanduiding voor voettekst 4">
            <a:extLst>
              <a:ext uri="{FF2B5EF4-FFF2-40B4-BE49-F238E27FC236}">
                <a16:creationId xmlns:a16="http://schemas.microsoft.com/office/drawing/2014/main" id="{C085BB42-DA21-46B2-8E70-20F5F5B120AC}"/>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Tree>
    <p:extLst>
      <p:ext uri="{BB962C8B-B14F-4D97-AF65-F5344CB8AC3E}">
        <p14:creationId xmlns:p14="http://schemas.microsoft.com/office/powerpoint/2010/main" val="1870150806"/>
      </p:ext>
    </p:extLst>
  </p:cSld>
  <p:clrMapOvr>
    <a:masterClrMapping/>
  </p:clrMapOvr>
  <p:transition spd="med"/>
  <p:extLst>
    <p:ext uri="{DCECCB84-F9BA-43D5-87BE-67443E8EF086}">
      <p15:sldGuideLst xmlns:p15="http://schemas.microsoft.com/office/powerpoint/2012/main">
        <p15:guide id="4" pos="14597" userDrawn="1">
          <p15:clr>
            <a:srgbClr val="FBAE40"/>
          </p15:clr>
        </p15:guide>
        <p15:guide id="9" orient="horz" pos="5386"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kst links 1 afbeelding rechts cyaan">
    <p:bg>
      <p:bgPr>
        <a:solidFill>
          <a:schemeClr val="accent2"/>
        </a:solidFill>
        <a:effectLst/>
      </p:bgPr>
    </p:bg>
    <p:spTree>
      <p:nvGrpSpPr>
        <p:cNvPr id="1" name=""/>
        <p:cNvGrpSpPr/>
        <p:nvPr/>
      </p:nvGrpSpPr>
      <p:grpSpPr>
        <a:xfrm>
          <a:off x="0" y="0"/>
          <a:ext cx="0" cy="0"/>
          <a:chOff x="0" y="0"/>
          <a:chExt cx="0" cy="0"/>
        </a:xfrm>
      </p:grpSpPr>
      <p:sp>
        <p:nvSpPr>
          <p:cNvPr id="10" name="Rechthoek 9">
            <a:extLst>
              <a:ext uri="{FF2B5EF4-FFF2-40B4-BE49-F238E27FC236}">
                <a16:creationId xmlns:a16="http://schemas.microsoft.com/office/drawing/2014/main" id="{D28C67C1-5CA6-4817-AFD1-3CA136E248D2}"/>
              </a:ext>
            </a:extLst>
          </p:cNvPr>
          <p:cNvSpPr/>
          <p:nvPr userDrawn="1"/>
        </p:nvSpPr>
        <p:spPr>
          <a:xfrm>
            <a:off x="1" y="0"/>
            <a:ext cx="17228187" cy="137160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FFFFFF"/>
              </a:solidFill>
              <a:effectLst/>
              <a:uFillTx/>
              <a:latin typeface="Source Sans Pro SemiBold" panose="020B0603030403020204" pitchFamily="34" charset="0"/>
              <a:ea typeface="Source Sans Pro SemiBold" panose="020B0603030403020204" pitchFamily="34" charset="0"/>
              <a:cs typeface="Helvetica Neue Medium"/>
              <a:sym typeface="Helvetica Neue Medium"/>
            </a:endParaRPr>
          </a:p>
        </p:txBody>
      </p:sp>
      <p:sp>
        <p:nvSpPr>
          <p:cNvPr id="2" name="Titel 1">
            <a:extLst>
              <a:ext uri="{FF2B5EF4-FFF2-40B4-BE49-F238E27FC236}">
                <a16:creationId xmlns:a16="http://schemas.microsoft.com/office/drawing/2014/main" id="{6CC67F57-CD61-49A2-8791-5C19F7D0C4A4}"/>
              </a:ext>
            </a:extLst>
          </p:cNvPr>
          <p:cNvSpPr>
            <a:spLocks noGrp="1"/>
          </p:cNvSpPr>
          <p:nvPr>
            <p:ph type="title"/>
          </p:nvPr>
        </p:nvSpPr>
        <p:spPr>
          <a:xfrm>
            <a:off x="1712658" y="2516047"/>
            <a:ext cx="10156254" cy="1524272"/>
          </a:xfrm>
        </p:spPr>
        <p:txBody>
          <a:bodyPr/>
          <a:lstStyle/>
          <a:p>
            <a:r>
              <a:rPr lang="nl-NL"/>
              <a:t>Klik om stijl te bewerken</a:t>
            </a:r>
          </a:p>
        </p:txBody>
      </p:sp>
      <p:sp>
        <p:nvSpPr>
          <p:cNvPr id="3" name="Tijdelijke aanduiding voor dianummer 2">
            <a:extLst>
              <a:ext uri="{FF2B5EF4-FFF2-40B4-BE49-F238E27FC236}">
                <a16:creationId xmlns:a16="http://schemas.microsoft.com/office/drawing/2014/main" id="{2FA0DC6E-25B9-412E-A918-174FF2789FD0}"/>
              </a:ext>
            </a:extLst>
          </p:cNvPr>
          <p:cNvSpPr>
            <a:spLocks noGrp="1"/>
          </p:cNvSpPr>
          <p:nvPr>
            <p:ph type="sldNum" sz="quarter" idx="10"/>
          </p:nvPr>
        </p:nvSpPr>
        <p:spPr/>
        <p:txBody>
          <a:bodyPr/>
          <a:lstStyle/>
          <a:p>
            <a:fld id="{86CB4B4D-7CA3-9044-876B-883B54F8677D}" type="slidenum">
              <a:rPr lang="nl-NL" smtClean="0"/>
              <a:pPr/>
              <a:t>‹nr.›</a:t>
            </a:fld>
            <a:endParaRPr lang="nl-NL"/>
          </a:p>
        </p:txBody>
      </p:sp>
      <p:sp>
        <p:nvSpPr>
          <p:cNvPr id="7" name="Tijdelijke aanduiding voor inhoud 6">
            <a:extLst>
              <a:ext uri="{FF2B5EF4-FFF2-40B4-BE49-F238E27FC236}">
                <a16:creationId xmlns:a16="http://schemas.microsoft.com/office/drawing/2014/main" id="{46F2A3CA-7135-4C73-8C32-229646843285}"/>
              </a:ext>
            </a:extLst>
          </p:cNvPr>
          <p:cNvSpPr>
            <a:spLocks noGrp="1"/>
          </p:cNvSpPr>
          <p:nvPr>
            <p:ph sz="quarter" idx="13"/>
          </p:nvPr>
        </p:nvSpPr>
        <p:spPr>
          <a:xfrm>
            <a:off x="1712659" y="4733924"/>
            <a:ext cx="10156254" cy="7765923"/>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2" name="Tijdelijke aanduiding voor afbeelding 4">
            <a:extLst>
              <a:ext uri="{FF2B5EF4-FFF2-40B4-BE49-F238E27FC236}">
                <a16:creationId xmlns:a16="http://schemas.microsoft.com/office/drawing/2014/main" id="{DC289140-C3A7-4261-9C03-4C54F9CC7553}"/>
              </a:ext>
            </a:extLst>
          </p:cNvPr>
          <p:cNvSpPr>
            <a:spLocks noGrp="1"/>
          </p:cNvSpPr>
          <p:nvPr>
            <p:ph type="pic" sz="quarter" idx="24" hasCustomPrompt="1"/>
          </p:nvPr>
        </p:nvSpPr>
        <p:spPr>
          <a:xfrm>
            <a:off x="13587984" y="2430050"/>
            <a:ext cx="8464265" cy="8442166"/>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9" name="Tijdelijke aanduiding voor tekst 7">
            <a:extLst>
              <a:ext uri="{FF2B5EF4-FFF2-40B4-BE49-F238E27FC236}">
                <a16:creationId xmlns:a16="http://schemas.microsoft.com/office/drawing/2014/main" id="{552846D4-43FF-43E8-BC44-A74650F8A23F}"/>
              </a:ext>
            </a:extLst>
          </p:cNvPr>
          <p:cNvSpPr>
            <a:spLocks noGrp="1"/>
          </p:cNvSpPr>
          <p:nvPr>
            <p:ph type="body" sz="quarter" idx="14" hasCustomPrompt="1"/>
          </p:nvPr>
        </p:nvSpPr>
        <p:spPr>
          <a:xfrm>
            <a:off x="1712913" y="1620490"/>
            <a:ext cx="21464587" cy="722313"/>
          </a:xfrm>
        </p:spPr>
        <p:txBody>
          <a:bodyPr>
            <a:normAutofit/>
          </a:bodyPr>
          <a:lstStyle>
            <a:lvl1pPr>
              <a:defRPr sz="3000">
                <a:latin typeface="+mj-lt"/>
              </a:defRPr>
            </a:lvl1pPr>
          </a:lstStyle>
          <a:p>
            <a:pPr lvl="0"/>
            <a:r>
              <a:rPr lang="nl-NL"/>
              <a:t>Hoofdstuktitel Deel I: Titel</a:t>
            </a:r>
          </a:p>
        </p:txBody>
      </p:sp>
      <p:sp>
        <p:nvSpPr>
          <p:cNvPr id="11" name="Tijdelijke aanduiding voor datum 4">
            <a:extLst>
              <a:ext uri="{FF2B5EF4-FFF2-40B4-BE49-F238E27FC236}">
                <a16:creationId xmlns:a16="http://schemas.microsoft.com/office/drawing/2014/main" id="{EAD5FDF8-7BFF-427F-9C79-0306F5B89CBF}"/>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13" name="Tijdelijke aanduiding voor voettekst 4">
            <a:extLst>
              <a:ext uri="{FF2B5EF4-FFF2-40B4-BE49-F238E27FC236}">
                <a16:creationId xmlns:a16="http://schemas.microsoft.com/office/drawing/2014/main" id="{C085BB42-DA21-46B2-8E70-20F5F5B120AC}"/>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Tree>
    <p:extLst>
      <p:ext uri="{BB962C8B-B14F-4D97-AF65-F5344CB8AC3E}">
        <p14:creationId xmlns:p14="http://schemas.microsoft.com/office/powerpoint/2010/main" val="3698762015"/>
      </p:ext>
    </p:extLst>
  </p:cSld>
  <p:clrMapOvr>
    <a:masterClrMapping/>
  </p:clrMapOvr>
  <p:transition spd="med"/>
  <p:extLst>
    <p:ext uri="{DCECCB84-F9BA-43D5-87BE-67443E8EF086}">
      <p15:sldGuideLst xmlns:p15="http://schemas.microsoft.com/office/powerpoint/2012/main">
        <p15:guide id="4" pos="14597" userDrawn="1">
          <p15:clr>
            <a:srgbClr val="FBAE40"/>
          </p15:clr>
        </p15:guide>
        <p15:guide id="9" orient="horz" pos="5386"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kst links geel, 1 afbeelding rechts">
    <p:bg>
      <p:bgPr>
        <a:solidFill>
          <a:schemeClr val="accent4"/>
        </a:solidFill>
        <a:effectLst/>
      </p:bgPr>
    </p:bg>
    <p:spTree>
      <p:nvGrpSpPr>
        <p:cNvPr id="1" name=""/>
        <p:cNvGrpSpPr/>
        <p:nvPr/>
      </p:nvGrpSpPr>
      <p:grpSpPr>
        <a:xfrm>
          <a:off x="0" y="0"/>
          <a:ext cx="0" cy="0"/>
          <a:chOff x="0" y="0"/>
          <a:chExt cx="0" cy="0"/>
        </a:xfrm>
      </p:grpSpPr>
      <p:sp>
        <p:nvSpPr>
          <p:cNvPr id="16" name="Rechthoek 15">
            <a:extLst>
              <a:ext uri="{FF2B5EF4-FFF2-40B4-BE49-F238E27FC236}">
                <a16:creationId xmlns:a16="http://schemas.microsoft.com/office/drawing/2014/main" id="{BEE4DE9D-2949-44A7-BA89-E512C3235D93}"/>
              </a:ext>
            </a:extLst>
          </p:cNvPr>
          <p:cNvSpPr/>
          <p:nvPr userDrawn="1"/>
        </p:nvSpPr>
        <p:spPr>
          <a:xfrm>
            <a:off x="12167543" y="0"/>
            <a:ext cx="12216457" cy="137160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FFFFFF"/>
              </a:solidFill>
              <a:effectLst/>
              <a:uFillTx/>
              <a:latin typeface="Source Sans Pro SemiBold" panose="020B0603030403020204" pitchFamily="34" charset="0"/>
              <a:ea typeface="Source Sans Pro SemiBold" panose="020B0603030403020204" pitchFamily="34" charset="0"/>
              <a:cs typeface="Helvetica Neue Medium"/>
              <a:sym typeface="Helvetica Neue Medium"/>
            </a:endParaRPr>
          </a:p>
        </p:txBody>
      </p:sp>
      <p:sp>
        <p:nvSpPr>
          <p:cNvPr id="2" name="Titel 1">
            <a:extLst>
              <a:ext uri="{FF2B5EF4-FFF2-40B4-BE49-F238E27FC236}">
                <a16:creationId xmlns:a16="http://schemas.microsoft.com/office/drawing/2014/main" id="{6CC67F57-CD61-49A2-8791-5C19F7D0C4A4}"/>
              </a:ext>
            </a:extLst>
          </p:cNvPr>
          <p:cNvSpPr>
            <a:spLocks noGrp="1"/>
          </p:cNvSpPr>
          <p:nvPr>
            <p:ph type="title"/>
          </p:nvPr>
        </p:nvSpPr>
        <p:spPr>
          <a:xfrm>
            <a:off x="1712658" y="2516047"/>
            <a:ext cx="10156254" cy="1524272"/>
          </a:xfrm>
        </p:spPr>
        <p:txBody>
          <a:bodyPr/>
          <a:lstStyle/>
          <a:p>
            <a:r>
              <a:rPr lang="nl-NL"/>
              <a:t>Klik om stijl te bewerken</a:t>
            </a:r>
          </a:p>
        </p:txBody>
      </p:sp>
      <p:sp>
        <p:nvSpPr>
          <p:cNvPr id="3" name="Tijdelijke aanduiding voor dianummer 2">
            <a:extLst>
              <a:ext uri="{FF2B5EF4-FFF2-40B4-BE49-F238E27FC236}">
                <a16:creationId xmlns:a16="http://schemas.microsoft.com/office/drawing/2014/main" id="{2FA0DC6E-25B9-412E-A918-174FF2789FD0}"/>
              </a:ext>
            </a:extLst>
          </p:cNvPr>
          <p:cNvSpPr>
            <a:spLocks noGrp="1"/>
          </p:cNvSpPr>
          <p:nvPr>
            <p:ph type="sldNum" sz="quarter" idx="10"/>
          </p:nvPr>
        </p:nvSpPr>
        <p:spPr/>
        <p:txBody>
          <a:bodyPr/>
          <a:lstStyle/>
          <a:p>
            <a:fld id="{86CB4B4D-7CA3-9044-876B-883B54F8677D}" type="slidenum">
              <a:rPr lang="nl-NL" smtClean="0"/>
              <a:pPr/>
              <a:t>‹nr.›</a:t>
            </a:fld>
            <a:endParaRPr lang="nl-NL"/>
          </a:p>
        </p:txBody>
      </p:sp>
      <p:sp>
        <p:nvSpPr>
          <p:cNvPr id="7" name="Tijdelijke aanduiding voor inhoud 6">
            <a:extLst>
              <a:ext uri="{FF2B5EF4-FFF2-40B4-BE49-F238E27FC236}">
                <a16:creationId xmlns:a16="http://schemas.microsoft.com/office/drawing/2014/main" id="{46F2A3CA-7135-4C73-8C32-229646843285}"/>
              </a:ext>
            </a:extLst>
          </p:cNvPr>
          <p:cNvSpPr>
            <a:spLocks noGrp="1"/>
          </p:cNvSpPr>
          <p:nvPr>
            <p:ph sz="quarter" idx="13"/>
          </p:nvPr>
        </p:nvSpPr>
        <p:spPr>
          <a:xfrm>
            <a:off x="1712659" y="4733924"/>
            <a:ext cx="10156254" cy="7765923"/>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2" name="Tijdelijke aanduiding voor afbeelding 4">
            <a:extLst>
              <a:ext uri="{FF2B5EF4-FFF2-40B4-BE49-F238E27FC236}">
                <a16:creationId xmlns:a16="http://schemas.microsoft.com/office/drawing/2014/main" id="{DC289140-C3A7-4261-9C03-4C54F9CC7553}"/>
              </a:ext>
            </a:extLst>
          </p:cNvPr>
          <p:cNvSpPr>
            <a:spLocks noGrp="1"/>
          </p:cNvSpPr>
          <p:nvPr>
            <p:ph type="pic" sz="quarter" idx="24" hasCustomPrompt="1"/>
          </p:nvPr>
        </p:nvSpPr>
        <p:spPr>
          <a:xfrm>
            <a:off x="13587984" y="2430050"/>
            <a:ext cx="8464265" cy="8442166"/>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pic>
        <p:nvPicPr>
          <p:cNvPr id="11" name="Afbeelding" descr="Afbeelding">
            <a:extLst>
              <a:ext uri="{FF2B5EF4-FFF2-40B4-BE49-F238E27FC236}">
                <a16:creationId xmlns:a16="http://schemas.microsoft.com/office/drawing/2014/main" id="{961EF638-B020-4D3F-B7EA-93820D45B39E}"/>
              </a:ext>
            </a:extLst>
          </p:cNvPr>
          <p:cNvPicPr>
            <a:picLocks noChangeAspect="1"/>
          </p:cNvPicPr>
          <p:nvPr userDrawn="1"/>
        </p:nvPicPr>
        <p:blipFill>
          <a:blip r:embed="rId2"/>
          <a:stretch>
            <a:fillRect/>
          </a:stretch>
        </p:blipFill>
        <p:spPr>
          <a:xfrm>
            <a:off x="427709" y="384185"/>
            <a:ext cx="1284949" cy="584201"/>
          </a:xfrm>
          <a:prstGeom prst="rect">
            <a:avLst/>
          </a:prstGeom>
          <a:ln w="12700">
            <a:miter lim="400000"/>
          </a:ln>
        </p:spPr>
      </p:pic>
      <p:sp>
        <p:nvSpPr>
          <p:cNvPr id="10" name="Tijdelijke aanduiding voor tekst 7">
            <a:extLst>
              <a:ext uri="{FF2B5EF4-FFF2-40B4-BE49-F238E27FC236}">
                <a16:creationId xmlns:a16="http://schemas.microsoft.com/office/drawing/2014/main" id="{89086446-BF90-456A-8666-C211D341A02A}"/>
              </a:ext>
            </a:extLst>
          </p:cNvPr>
          <p:cNvSpPr>
            <a:spLocks noGrp="1"/>
          </p:cNvSpPr>
          <p:nvPr>
            <p:ph type="body" sz="quarter" idx="14" hasCustomPrompt="1"/>
          </p:nvPr>
        </p:nvSpPr>
        <p:spPr>
          <a:xfrm>
            <a:off x="1712913" y="1620490"/>
            <a:ext cx="10155999" cy="722313"/>
          </a:xfrm>
        </p:spPr>
        <p:txBody>
          <a:bodyPr>
            <a:normAutofit/>
          </a:bodyPr>
          <a:lstStyle>
            <a:lvl1pPr>
              <a:defRPr sz="3000">
                <a:latin typeface="+mj-lt"/>
              </a:defRPr>
            </a:lvl1pPr>
          </a:lstStyle>
          <a:p>
            <a:pPr lvl="0"/>
            <a:r>
              <a:rPr lang="nl-NL"/>
              <a:t>Hoofdstuktitel Deel I: Titel</a:t>
            </a:r>
          </a:p>
        </p:txBody>
      </p:sp>
      <p:sp>
        <p:nvSpPr>
          <p:cNvPr id="13" name="Tijdelijke aanduiding voor datum 4">
            <a:extLst>
              <a:ext uri="{FF2B5EF4-FFF2-40B4-BE49-F238E27FC236}">
                <a16:creationId xmlns:a16="http://schemas.microsoft.com/office/drawing/2014/main" id="{8B1CC7E5-4EDD-403C-B117-EF85D9C6257A}"/>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14" name="Tijdelijke aanduiding voor voettekst 4">
            <a:extLst>
              <a:ext uri="{FF2B5EF4-FFF2-40B4-BE49-F238E27FC236}">
                <a16:creationId xmlns:a16="http://schemas.microsoft.com/office/drawing/2014/main" id="{CA93DB7F-CD07-4C30-90CE-8688E419B31A}"/>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Tree>
    <p:extLst>
      <p:ext uri="{BB962C8B-B14F-4D97-AF65-F5344CB8AC3E}">
        <p14:creationId xmlns:p14="http://schemas.microsoft.com/office/powerpoint/2010/main" val="2234239077"/>
      </p:ext>
    </p:extLst>
  </p:cSld>
  <p:clrMapOvr>
    <a:masterClrMapping/>
  </p:clrMapOvr>
  <p:transition spd="med"/>
  <p:extLst>
    <p:ext uri="{DCECCB84-F9BA-43D5-87BE-67443E8EF086}">
      <p15:sldGuideLst xmlns:p15="http://schemas.microsoft.com/office/powerpoint/2012/main">
        <p15:guide id="9" orient="horz" pos="5386"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ard 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C67F57-CD61-49A2-8791-5C19F7D0C4A4}"/>
              </a:ext>
            </a:extLst>
          </p:cNvPr>
          <p:cNvSpPr>
            <a:spLocks noGrp="1"/>
          </p:cNvSpPr>
          <p:nvPr>
            <p:ph type="title"/>
          </p:nvPr>
        </p:nvSpPr>
        <p:spPr/>
        <p:txBody>
          <a:bodyPr/>
          <a:lstStyle/>
          <a:p>
            <a:r>
              <a:rPr lang="nl-NL"/>
              <a:t>Klik om stijl te bewerken</a:t>
            </a:r>
          </a:p>
        </p:txBody>
      </p:sp>
      <p:sp>
        <p:nvSpPr>
          <p:cNvPr id="3" name="Tijdelijke aanduiding voor dianummer 2">
            <a:extLst>
              <a:ext uri="{FF2B5EF4-FFF2-40B4-BE49-F238E27FC236}">
                <a16:creationId xmlns:a16="http://schemas.microsoft.com/office/drawing/2014/main" id="{2FA0DC6E-25B9-412E-A918-174FF2789FD0}"/>
              </a:ext>
            </a:extLst>
          </p:cNvPr>
          <p:cNvSpPr>
            <a:spLocks noGrp="1"/>
          </p:cNvSpPr>
          <p:nvPr>
            <p:ph type="sldNum" sz="quarter" idx="10"/>
          </p:nvPr>
        </p:nvSpPr>
        <p:spPr/>
        <p:txBody>
          <a:bodyPr/>
          <a:lstStyle/>
          <a:p>
            <a:fld id="{86CB4B4D-7CA3-9044-876B-883B54F8677D}" type="slidenum">
              <a:rPr lang="nl-NL" smtClean="0"/>
              <a:pPr/>
              <a:t>‹nr.›</a:t>
            </a:fld>
            <a:endParaRPr lang="nl-NL"/>
          </a:p>
        </p:txBody>
      </p:sp>
      <p:sp>
        <p:nvSpPr>
          <p:cNvPr id="4" name="Tijdelijke aanduiding voor datum 3">
            <a:extLst>
              <a:ext uri="{FF2B5EF4-FFF2-40B4-BE49-F238E27FC236}">
                <a16:creationId xmlns:a16="http://schemas.microsoft.com/office/drawing/2014/main" id="{921D4BC0-A99C-463A-9D49-27C8B706B974}"/>
              </a:ext>
            </a:extLst>
          </p:cNvPr>
          <p:cNvSpPr>
            <a:spLocks noGrp="1"/>
          </p:cNvSpPr>
          <p:nvPr>
            <p:ph type="dt" sz="half" idx="11"/>
          </p:nvPr>
        </p:nvSpPr>
        <p:spPr/>
        <p:txBody>
          <a:bodyPr/>
          <a:lstStyle>
            <a:lvl1pPr>
              <a:defRPr sz="2200">
                <a:latin typeface="+mn-lt"/>
              </a:defRPr>
            </a:lvl1pPr>
          </a:lstStyle>
          <a:p>
            <a:fld id="{848C9476-A8F6-43D9-84F7-3E32148F6953}" type="datetimeFigureOut">
              <a:rPr lang="nl-NL" smtClean="0"/>
              <a:pPr/>
              <a:t>13-6-2023</a:t>
            </a:fld>
            <a:endParaRPr lang="nl-NL"/>
          </a:p>
        </p:txBody>
      </p:sp>
      <p:sp>
        <p:nvSpPr>
          <p:cNvPr id="5" name="Tijdelijke aanduiding voor voettekst 4">
            <a:extLst>
              <a:ext uri="{FF2B5EF4-FFF2-40B4-BE49-F238E27FC236}">
                <a16:creationId xmlns:a16="http://schemas.microsoft.com/office/drawing/2014/main" id="{4A82F18C-1101-4C59-B9BF-D88641580BFA}"/>
              </a:ext>
            </a:extLst>
          </p:cNvPr>
          <p:cNvSpPr>
            <a:spLocks noGrp="1"/>
          </p:cNvSpPr>
          <p:nvPr>
            <p:ph type="ftr" sz="quarter" idx="12"/>
          </p:nvPr>
        </p:nvSpPr>
        <p:spPr>
          <a:xfrm>
            <a:off x="4425696" y="13807440"/>
            <a:ext cx="18498312" cy="441146"/>
          </a:xfrm>
          <a:prstGeom prst="rect">
            <a:avLst/>
          </a:prstGeom>
        </p:spPr>
        <p:txBody>
          <a:bodyPr/>
          <a:lstStyle>
            <a:lvl1pPr>
              <a:defRPr sz="2200">
                <a:latin typeface="+mn-lt"/>
              </a:defRPr>
            </a:lvl1pPr>
          </a:lstStyle>
          <a:p>
            <a:r>
              <a:rPr lang="nl-NL"/>
              <a:t>Voettekst</a:t>
            </a:r>
          </a:p>
        </p:txBody>
      </p:sp>
      <p:sp>
        <p:nvSpPr>
          <p:cNvPr id="7" name="Tijdelijke aanduiding voor inhoud 6">
            <a:extLst>
              <a:ext uri="{FF2B5EF4-FFF2-40B4-BE49-F238E27FC236}">
                <a16:creationId xmlns:a16="http://schemas.microsoft.com/office/drawing/2014/main" id="{46F2A3CA-7135-4C73-8C32-229646843285}"/>
              </a:ext>
            </a:extLst>
          </p:cNvPr>
          <p:cNvSpPr>
            <a:spLocks noGrp="1"/>
          </p:cNvSpPr>
          <p:nvPr>
            <p:ph sz="quarter" idx="13"/>
          </p:nvPr>
        </p:nvSpPr>
        <p:spPr>
          <a:xfrm>
            <a:off x="1712658" y="4733925"/>
            <a:ext cx="21464841" cy="7785099"/>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8" name="Tijdelijke aanduiding voor tekst 7">
            <a:extLst>
              <a:ext uri="{FF2B5EF4-FFF2-40B4-BE49-F238E27FC236}">
                <a16:creationId xmlns:a16="http://schemas.microsoft.com/office/drawing/2014/main" id="{E61050DC-E596-4700-B3FC-F5C028A945B6}"/>
              </a:ext>
            </a:extLst>
          </p:cNvPr>
          <p:cNvSpPr>
            <a:spLocks noGrp="1"/>
          </p:cNvSpPr>
          <p:nvPr>
            <p:ph type="body" sz="quarter" idx="14" hasCustomPrompt="1"/>
          </p:nvPr>
        </p:nvSpPr>
        <p:spPr>
          <a:xfrm>
            <a:off x="1712913" y="1620490"/>
            <a:ext cx="21464587" cy="722313"/>
          </a:xfrm>
        </p:spPr>
        <p:txBody>
          <a:bodyPr>
            <a:normAutofit/>
          </a:bodyPr>
          <a:lstStyle>
            <a:lvl1pPr>
              <a:defRPr sz="3000">
                <a:latin typeface="+mj-lt"/>
              </a:defRPr>
            </a:lvl1pPr>
          </a:lstStyle>
          <a:p>
            <a:pPr lvl="0"/>
            <a:r>
              <a:rPr lang="nl-NL"/>
              <a:t>Hoofdstuktitel Deel I: Titel</a:t>
            </a:r>
          </a:p>
        </p:txBody>
      </p:sp>
    </p:spTree>
    <p:extLst>
      <p:ext uri="{BB962C8B-B14F-4D97-AF65-F5344CB8AC3E}">
        <p14:creationId xmlns:p14="http://schemas.microsoft.com/office/powerpoint/2010/main" val="3727413744"/>
      </p:ext>
    </p:extLst>
  </p:cSld>
  <p:clrMapOvr>
    <a:masterClrMapping/>
  </p:clrMapOvr>
  <p:transition spd="med"/>
  <p:extLst>
    <p:ext uri="{DCECCB84-F9BA-43D5-87BE-67443E8EF086}">
      <p15:sldGuideLst xmlns:p15="http://schemas.microsoft.com/office/powerpoint/2012/main">
        <p15:guide id="2" pos="7680" userDrawn="1">
          <p15:clr>
            <a:srgbClr val="FBAE40"/>
          </p15:clr>
        </p15:guide>
        <p15:guide id="9" orient="horz" pos="5386"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kst rechts 1 afbeelding links geel">
    <p:bg>
      <p:bgPr>
        <a:solidFill>
          <a:schemeClr val="accent4"/>
        </a:solidFill>
        <a:effectLst/>
      </p:bgPr>
    </p:bg>
    <p:spTree>
      <p:nvGrpSpPr>
        <p:cNvPr id="1" name=""/>
        <p:cNvGrpSpPr/>
        <p:nvPr/>
      </p:nvGrpSpPr>
      <p:grpSpPr>
        <a:xfrm>
          <a:off x="0" y="0"/>
          <a:ext cx="0" cy="0"/>
          <a:chOff x="0" y="0"/>
          <a:chExt cx="0" cy="0"/>
        </a:xfrm>
      </p:grpSpPr>
      <p:sp>
        <p:nvSpPr>
          <p:cNvPr id="16" name="Rechthoek 15">
            <a:extLst>
              <a:ext uri="{FF2B5EF4-FFF2-40B4-BE49-F238E27FC236}">
                <a16:creationId xmlns:a16="http://schemas.microsoft.com/office/drawing/2014/main" id="{3D1BF936-A574-4820-B207-C9DC0BB7F609}"/>
              </a:ext>
            </a:extLst>
          </p:cNvPr>
          <p:cNvSpPr/>
          <p:nvPr userDrawn="1"/>
        </p:nvSpPr>
        <p:spPr>
          <a:xfrm>
            <a:off x="5885689" y="0"/>
            <a:ext cx="18498311" cy="137160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FFFFFF"/>
              </a:solidFill>
              <a:effectLst/>
              <a:uFillTx/>
              <a:latin typeface="Source Sans Pro SemiBold" panose="020B0603030403020204" pitchFamily="34" charset="0"/>
              <a:ea typeface="Source Sans Pro SemiBold" panose="020B0603030403020204" pitchFamily="34" charset="0"/>
              <a:cs typeface="Helvetica Neue Medium"/>
              <a:sym typeface="Helvetica Neue Medium"/>
            </a:endParaRPr>
          </a:p>
        </p:txBody>
      </p:sp>
      <p:sp>
        <p:nvSpPr>
          <p:cNvPr id="2" name="Titel 1">
            <a:extLst>
              <a:ext uri="{FF2B5EF4-FFF2-40B4-BE49-F238E27FC236}">
                <a16:creationId xmlns:a16="http://schemas.microsoft.com/office/drawing/2014/main" id="{6CC67F57-CD61-49A2-8791-5C19F7D0C4A4}"/>
              </a:ext>
            </a:extLst>
          </p:cNvPr>
          <p:cNvSpPr>
            <a:spLocks noGrp="1"/>
          </p:cNvSpPr>
          <p:nvPr>
            <p:ph type="title"/>
          </p:nvPr>
        </p:nvSpPr>
        <p:spPr>
          <a:xfrm>
            <a:off x="12515086" y="2516047"/>
            <a:ext cx="10662413" cy="1524272"/>
          </a:xfrm>
        </p:spPr>
        <p:txBody>
          <a:bodyPr/>
          <a:lstStyle/>
          <a:p>
            <a:r>
              <a:rPr lang="nl-NL"/>
              <a:t>Klik om stijl te bewerken</a:t>
            </a:r>
          </a:p>
        </p:txBody>
      </p:sp>
      <p:sp>
        <p:nvSpPr>
          <p:cNvPr id="3" name="Tijdelijke aanduiding voor dianummer 2">
            <a:extLst>
              <a:ext uri="{FF2B5EF4-FFF2-40B4-BE49-F238E27FC236}">
                <a16:creationId xmlns:a16="http://schemas.microsoft.com/office/drawing/2014/main" id="{2FA0DC6E-25B9-412E-A918-174FF2789FD0}"/>
              </a:ext>
            </a:extLst>
          </p:cNvPr>
          <p:cNvSpPr>
            <a:spLocks noGrp="1"/>
          </p:cNvSpPr>
          <p:nvPr>
            <p:ph type="sldNum" sz="quarter" idx="10"/>
          </p:nvPr>
        </p:nvSpPr>
        <p:spPr/>
        <p:txBody>
          <a:bodyPr/>
          <a:lstStyle/>
          <a:p>
            <a:fld id="{86CB4B4D-7CA3-9044-876B-883B54F8677D}" type="slidenum">
              <a:rPr lang="nl-NL" smtClean="0"/>
              <a:pPr/>
              <a:t>‹nr.›</a:t>
            </a:fld>
            <a:endParaRPr lang="nl-NL"/>
          </a:p>
        </p:txBody>
      </p:sp>
      <p:sp>
        <p:nvSpPr>
          <p:cNvPr id="8" name="Tijdelijke aanduiding voor inhoud 6">
            <a:extLst>
              <a:ext uri="{FF2B5EF4-FFF2-40B4-BE49-F238E27FC236}">
                <a16:creationId xmlns:a16="http://schemas.microsoft.com/office/drawing/2014/main" id="{D00AA070-8E7E-443F-BB23-820E2193EA11}"/>
              </a:ext>
            </a:extLst>
          </p:cNvPr>
          <p:cNvSpPr>
            <a:spLocks noGrp="1"/>
          </p:cNvSpPr>
          <p:nvPr>
            <p:ph sz="quarter" idx="14"/>
          </p:nvPr>
        </p:nvSpPr>
        <p:spPr>
          <a:xfrm>
            <a:off x="12515086" y="4733924"/>
            <a:ext cx="10657651" cy="7777163"/>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3" name="Tijdelijke aanduiding voor afbeelding 4">
            <a:extLst>
              <a:ext uri="{FF2B5EF4-FFF2-40B4-BE49-F238E27FC236}">
                <a16:creationId xmlns:a16="http://schemas.microsoft.com/office/drawing/2014/main" id="{024C9BB8-ACEE-4675-B42D-CC6AB34CA284}"/>
              </a:ext>
            </a:extLst>
          </p:cNvPr>
          <p:cNvSpPr>
            <a:spLocks noGrp="1"/>
          </p:cNvSpPr>
          <p:nvPr>
            <p:ph type="pic" sz="quarter" idx="24" hasCustomPrompt="1"/>
          </p:nvPr>
        </p:nvSpPr>
        <p:spPr>
          <a:xfrm>
            <a:off x="2139696" y="2430050"/>
            <a:ext cx="8464265" cy="8442166"/>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pic>
        <p:nvPicPr>
          <p:cNvPr id="10" name="Afbeelding" descr="Afbeelding">
            <a:extLst>
              <a:ext uri="{FF2B5EF4-FFF2-40B4-BE49-F238E27FC236}">
                <a16:creationId xmlns:a16="http://schemas.microsoft.com/office/drawing/2014/main" id="{CFBBE631-CDAB-4364-A02F-19F210575B10}"/>
              </a:ext>
            </a:extLst>
          </p:cNvPr>
          <p:cNvPicPr>
            <a:picLocks noChangeAspect="1"/>
          </p:cNvPicPr>
          <p:nvPr userDrawn="1"/>
        </p:nvPicPr>
        <p:blipFill>
          <a:blip r:embed="rId2"/>
          <a:stretch>
            <a:fillRect/>
          </a:stretch>
        </p:blipFill>
        <p:spPr>
          <a:xfrm>
            <a:off x="427709" y="384185"/>
            <a:ext cx="1284949" cy="584201"/>
          </a:xfrm>
          <a:prstGeom prst="rect">
            <a:avLst/>
          </a:prstGeom>
          <a:ln w="12700">
            <a:miter lim="400000"/>
          </a:ln>
        </p:spPr>
      </p:pic>
      <p:sp>
        <p:nvSpPr>
          <p:cNvPr id="11" name="Tijdelijke aanduiding voor tekst 7">
            <a:extLst>
              <a:ext uri="{FF2B5EF4-FFF2-40B4-BE49-F238E27FC236}">
                <a16:creationId xmlns:a16="http://schemas.microsoft.com/office/drawing/2014/main" id="{F0E98F38-9A1E-48E9-9C00-C7A3D6EC5C17}"/>
              </a:ext>
            </a:extLst>
          </p:cNvPr>
          <p:cNvSpPr>
            <a:spLocks noGrp="1"/>
          </p:cNvSpPr>
          <p:nvPr>
            <p:ph type="body" sz="quarter" idx="25" hasCustomPrompt="1"/>
          </p:nvPr>
        </p:nvSpPr>
        <p:spPr>
          <a:xfrm>
            <a:off x="12515087" y="1620490"/>
            <a:ext cx="10662413" cy="722313"/>
          </a:xfrm>
        </p:spPr>
        <p:txBody>
          <a:bodyPr>
            <a:normAutofit/>
          </a:bodyPr>
          <a:lstStyle>
            <a:lvl1pPr>
              <a:defRPr sz="3000">
                <a:latin typeface="+mj-lt"/>
              </a:defRPr>
            </a:lvl1pPr>
          </a:lstStyle>
          <a:p>
            <a:pPr lvl="0"/>
            <a:r>
              <a:rPr lang="nl-NL"/>
              <a:t>Hoofdstuktitel Deel I: Titel</a:t>
            </a:r>
          </a:p>
        </p:txBody>
      </p:sp>
      <p:sp>
        <p:nvSpPr>
          <p:cNvPr id="12" name="Tijdelijke aanduiding voor datum 4">
            <a:extLst>
              <a:ext uri="{FF2B5EF4-FFF2-40B4-BE49-F238E27FC236}">
                <a16:creationId xmlns:a16="http://schemas.microsoft.com/office/drawing/2014/main" id="{0D018771-ECE0-48DF-A0E8-68E7B0D92E43}"/>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14" name="Tijdelijke aanduiding voor voettekst 4">
            <a:extLst>
              <a:ext uri="{FF2B5EF4-FFF2-40B4-BE49-F238E27FC236}">
                <a16:creationId xmlns:a16="http://schemas.microsoft.com/office/drawing/2014/main" id="{64E8777F-AC36-43C7-91B6-78E41D5B31FF}"/>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Tree>
    <p:extLst>
      <p:ext uri="{BB962C8B-B14F-4D97-AF65-F5344CB8AC3E}">
        <p14:creationId xmlns:p14="http://schemas.microsoft.com/office/powerpoint/2010/main" val="1724376524"/>
      </p:ext>
    </p:extLst>
  </p:cSld>
  <p:clrMapOvr>
    <a:masterClrMapping/>
  </p:clrMapOvr>
  <p:transition spd="med"/>
  <p:extLst>
    <p:ext uri="{DCECCB84-F9BA-43D5-87BE-67443E8EF086}">
      <p15:sldGuideLst xmlns:p15="http://schemas.microsoft.com/office/powerpoint/2012/main">
        <p15:guide id="9" orient="horz" pos="5386"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kst rechts 1 afbeelding links rood">
    <p:bg>
      <p:bgPr>
        <a:solidFill>
          <a:schemeClr val="accent5"/>
        </a:solidFill>
        <a:effectLst/>
      </p:bgPr>
    </p:bg>
    <p:spTree>
      <p:nvGrpSpPr>
        <p:cNvPr id="1" name=""/>
        <p:cNvGrpSpPr/>
        <p:nvPr/>
      </p:nvGrpSpPr>
      <p:grpSpPr>
        <a:xfrm>
          <a:off x="0" y="0"/>
          <a:ext cx="0" cy="0"/>
          <a:chOff x="0" y="0"/>
          <a:chExt cx="0" cy="0"/>
        </a:xfrm>
      </p:grpSpPr>
      <p:sp>
        <p:nvSpPr>
          <p:cNvPr id="16" name="Rechthoek 15">
            <a:extLst>
              <a:ext uri="{FF2B5EF4-FFF2-40B4-BE49-F238E27FC236}">
                <a16:creationId xmlns:a16="http://schemas.microsoft.com/office/drawing/2014/main" id="{D1B1104E-19A9-4829-9881-278FD3254951}"/>
              </a:ext>
            </a:extLst>
          </p:cNvPr>
          <p:cNvSpPr/>
          <p:nvPr userDrawn="1"/>
        </p:nvSpPr>
        <p:spPr>
          <a:xfrm>
            <a:off x="5885689" y="0"/>
            <a:ext cx="18498311" cy="137160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FFFFFF"/>
              </a:solidFill>
              <a:effectLst/>
              <a:uFillTx/>
              <a:latin typeface="Source Sans Pro SemiBold" panose="020B0603030403020204" pitchFamily="34" charset="0"/>
              <a:ea typeface="Source Sans Pro SemiBold" panose="020B0603030403020204" pitchFamily="34" charset="0"/>
              <a:cs typeface="Helvetica Neue Medium"/>
              <a:sym typeface="Helvetica Neue Medium"/>
            </a:endParaRPr>
          </a:p>
        </p:txBody>
      </p:sp>
      <p:sp>
        <p:nvSpPr>
          <p:cNvPr id="2" name="Titel 1">
            <a:extLst>
              <a:ext uri="{FF2B5EF4-FFF2-40B4-BE49-F238E27FC236}">
                <a16:creationId xmlns:a16="http://schemas.microsoft.com/office/drawing/2014/main" id="{6CC67F57-CD61-49A2-8791-5C19F7D0C4A4}"/>
              </a:ext>
            </a:extLst>
          </p:cNvPr>
          <p:cNvSpPr>
            <a:spLocks noGrp="1"/>
          </p:cNvSpPr>
          <p:nvPr>
            <p:ph type="title"/>
          </p:nvPr>
        </p:nvSpPr>
        <p:spPr>
          <a:xfrm>
            <a:off x="12515086" y="2516047"/>
            <a:ext cx="10662413" cy="1524272"/>
          </a:xfrm>
        </p:spPr>
        <p:txBody>
          <a:bodyPr/>
          <a:lstStyle/>
          <a:p>
            <a:r>
              <a:rPr lang="nl-NL"/>
              <a:t>Klik om stijl te bewerken</a:t>
            </a:r>
          </a:p>
        </p:txBody>
      </p:sp>
      <p:sp>
        <p:nvSpPr>
          <p:cNvPr id="3" name="Tijdelijke aanduiding voor dianummer 2">
            <a:extLst>
              <a:ext uri="{FF2B5EF4-FFF2-40B4-BE49-F238E27FC236}">
                <a16:creationId xmlns:a16="http://schemas.microsoft.com/office/drawing/2014/main" id="{2FA0DC6E-25B9-412E-A918-174FF2789FD0}"/>
              </a:ext>
            </a:extLst>
          </p:cNvPr>
          <p:cNvSpPr>
            <a:spLocks noGrp="1"/>
          </p:cNvSpPr>
          <p:nvPr>
            <p:ph type="sldNum" sz="quarter" idx="10"/>
          </p:nvPr>
        </p:nvSpPr>
        <p:spPr/>
        <p:txBody>
          <a:bodyPr/>
          <a:lstStyle/>
          <a:p>
            <a:fld id="{86CB4B4D-7CA3-9044-876B-883B54F8677D}" type="slidenum">
              <a:rPr lang="nl-NL" smtClean="0"/>
              <a:pPr/>
              <a:t>‹nr.›</a:t>
            </a:fld>
            <a:endParaRPr lang="nl-NL"/>
          </a:p>
        </p:txBody>
      </p:sp>
      <p:sp>
        <p:nvSpPr>
          <p:cNvPr id="8" name="Tijdelijke aanduiding voor inhoud 6">
            <a:extLst>
              <a:ext uri="{FF2B5EF4-FFF2-40B4-BE49-F238E27FC236}">
                <a16:creationId xmlns:a16="http://schemas.microsoft.com/office/drawing/2014/main" id="{D00AA070-8E7E-443F-BB23-820E2193EA11}"/>
              </a:ext>
            </a:extLst>
          </p:cNvPr>
          <p:cNvSpPr>
            <a:spLocks noGrp="1"/>
          </p:cNvSpPr>
          <p:nvPr>
            <p:ph sz="quarter" idx="14"/>
          </p:nvPr>
        </p:nvSpPr>
        <p:spPr>
          <a:xfrm>
            <a:off x="12515086" y="4733924"/>
            <a:ext cx="10657651" cy="7777163"/>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3" name="Tijdelijke aanduiding voor afbeelding 4">
            <a:extLst>
              <a:ext uri="{FF2B5EF4-FFF2-40B4-BE49-F238E27FC236}">
                <a16:creationId xmlns:a16="http://schemas.microsoft.com/office/drawing/2014/main" id="{024C9BB8-ACEE-4675-B42D-CC6AB34CA284}"/>
              </a:ext>
            </a:extLst>
          </p:cNvPr>
          <p:cNvSpPr>
            <a:spLocks noGrp="1"/>
          </p:cNvSpPr>
          <p:nvPr>
            <p:ph type="pic" sz="quarter" idx="24" hasCustomPrompt="1"/>
          </p:nvPr>
        </p:nvSpPr>
        <p:spPr>
          <a:xfrm>
            <a:off x="2139696" y="2430050"/>
            <a:ext cx="8464265" cy="8442166"/>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pic>
        <p:nvPicPr>
          <p:cNvPr id="10" name="Afbeelding" descr="Afbeelding">
            <a:extLst>
              <a:ext uri="{FF2B5EF4-FFF2-40B4-BE49-F238E27FC236}">
                <a16:creationId xmlns:a16="http://schemas.microsoft.com/office/drawing/2014/main" id="{CFBBE631-CDAB-4364-A02F-19F210575B10}"/>
              </a:ext>
            </a:extLst>
          </p:cNvPr>
          <p:cNvPicPr>
            <a:picLocks noChangeAspect="1"/>
          </p:cNvPicPr>
          <p:nvPr userDrawn="1"/>
        </p:nvPicPr>
        <p:blipFill>
          <a:blip r:embed="rId2"/>
          <a:stretch>
            <a:fillRect/>
          </a:stretch>
        </p:blipFill>
        <p:spPr>
          <a:xfrm>
            <a:off x="427709" y="384185"/>
            <a:ext cx="1284949" cy="584201"/>
          </a:xfrm>
          <a:prstGeom prst="rect">
            <a:avLst/>
          </a:prstGeom>
          <a:ln w="12700">
            <a:miter lim="400000"/>
          </a:ln>
        </p:spPr>
      </p:pic>
      <p:sp>
        <p:nvSpPr>
          <p:cNvPr id="11" name="Tijdelijke aanduiding voor tekst 7">
            <a:extLst>
              <a:ext uri="{FF2B5EF4-FFF2-40B4-BE49-F238E27FC236}">
                <a16:creationId xmlns:a16="http://schemas.microsoft.com/office/drawing/2014/main" id="{F0E98F38-9A1E-48E9-9C00-C7A3D6EC5C17}"/>
              </a:ext>
            </a:extLst>
          </p:cNvPr>
          <p:cNvSpPr>
            <a:spLocks noGrp="1"/>
          </p:cNvSpPr>
          <p:nvPr>
            <p:ph type="body" sz="quarter" idx="25" hasCustomPrompt="1"/>
          </p:nvPr>
        </p:nvSpPr>
        <p:spPr>
          <a:xfrm>
            <a:off x="12515087" y="1620490"/>
            <a:ext cx="10662413" cy="722313"/>
          </a:xfrm>
        </p:spPr>
        <p:txBody>
          <a:bodyPr>
            <a:normAutofit/>
          </a:bodyPr>
          <a:lstStyle>
            <a:lvl1pPr>
              <a:defRPr sz="3000">
                <a:latin typeface="+mj-lt"/>
              </a:defRPr>
            </a:lvl1pPr>
          </a:lstStyle>
          <a:p>
            <a:pPr lvl="0"/>
            <a:r>
              <a:rPr lang="nl-NL"/>
              <a:t>Hoofdstuktitel Deel I: Titel</a:t>
            </a:r>
          </a:p>
        </p:txBody>
      </p:sp>
      <p:sp>
        <p:nvSpPr>
          <p:cNvPr id="12" name="Tijdelijke aanduiding voor datum 4">
            <a:extLst>
              <a:ext uri="{FF2B5EF4-FFF2-40B4-BE49-F238E27FC236}">
                <a16:creationId xmlns:a16="http://schemas.microsoft.com/office/drawing/2014/main" id="{0D018771-ECE0-48DF-A0E8-68E7B0D92E43}"/>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14" name="Tijdelijke aanduiding voor voettekst 4">
            <a:extLst>
              <a:ext uri="{FF2B5EF4-FFF2-40B4-BE49-F238E27FC236}">
                <a16:creationId xmlns:a16="http://schemas.microsoft.com/office/drawing/2014/main" id="{64E8777F-AC36-43C7-91B6-78E41D5B31FF}"/>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Tree>
    <p:extLst>
      <p:ext uri="{BB962C8B-B14F-4D97-AF65-F5344CB8AC3E}">
        <p14:creationId xmlns:p14="http://schemas.microsoft.com/office/powerpoint/2010/main" val="3965026422"/>
      </p:ext>
    </p:extLst>
  </p:cSld>
  <p:clrMapOvr>
    <a:masterClrMapping/>
  </p:clrMapOvr>
  <p:transition spd="med"/>
  <p:extLst>
    <p:ext uri="{DCECCB84-F9BA-43D5-87BE-67443E8EF086}">
      <p15:sldGuideLst xmlns:p15="http://schemas.microsoft.com/office/powerpoint/2012/main">
        <p15:guide id="9" orient="horz" pos="5386"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kst rechts 1 afbeelding links cyaan">
    <p:bg>
      <p:bgPr>
        <a:solidFill>
          <a:schemeClr val="accent2"/>
        </a:solidFill>
        <a:effectLst/>
      </p:bgPr>
    </p:bg>
    <p:spTree>
      <p:nvGrpSpPr>
        <p:cNvPr id="1" name=""/>
        <p:cNvGrpSpPr/>
        <p:nvPr/>
      </p:nvGrpSpPr>
      <p:grpSpPr>
        <a:xfrm>
          <a:off x="0" y="0"/>
          <a:ext cx="0" cy="0"/>
          <a:chOff x="0" y="0"/>
          <a:chExt cx="0" cy="0"/>
        </a:xfrm>
      </p:grpSpPr>
      <p:sp>
        <p:nvSpPr>
          <p:cNvPr id="16" name="Rechthoek 15">
            <a:extLst>
              <a:ext uri="{FF2B5EF4-FFF2-40B4-BE49-F238E27FC236}">
                <a16:creationId xmlns:a16="http://schemas.microsoft.com/office/drawing/2014/main" id="{DE0917C4-86DD-4129-A454-C1BE2AF68024}"/>
              </a:ext>
            </a:extLst>
          </p:cNvPr>
          <p:cNvSpPr/>
          <p:nvPr userDrawn="1"/>
        </p:nvSpPr>
        <p:spPr>
          <a:xfrm>
            <a:off x="5885689" y="0"/>
            <a:ext cx="18498311" cy="137160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FFFFFF"/>
              </a:solidFill>
              <a:effectLst/>
              <a:uFillTx/>
              <a:latin typeface="Source Sans Pro SemiBold" panose="020B0603030403020204" pitchFamily="34" charset="0"/>
              <a:ea typeface="Source Sans Pro SemiBold" panose="020B0603030403020204" pitchFamily="34" charset="0"/>
              <a:cs typeface="Helvetica Neue Medium"/>
              <a:sym typeface="Helvetica Neue Medium"/>
            </a:endParaRPr>
          </a:p>
        </p:txBody>
      </p:sp>
      <p:sp>
        <p:nvSpPr>
          <p:cNvPr id="2" name="Titel 1">
            <a:extLst>
              <a:ext uri="{FF2B5EF4-FFF2-40B4-BE49-F238E27FC236}">
                <a16:creationId xmlns:a16="http://schemas.microsoft.com/office/drawing/2014/main" id="{6CC67F57-CD61-49A2-8791-5C19F7D0C4A4}"/>
              </a:ext>
            </a:extLst>
          </p:cNvPr>
          <p:cNvSpPr>
            <a:spLocks noGrp="1"/>
          </p:cNvSpPr>
          <p:nvPr>
            <p:ph type="title"/>
          </p:nvPr>
        </p:nvSpPr>
        <p:spPr>
          <a:xfrm>
            <a:off x="12515086" y="2516047"/>
            <a:ext cx="10662413" cy="1524272"/>
          </a:xfrm>
        </p:spPr>
        <p:txBody>
          <a:bodyPr/>
          <a:lstStyle/>
          <a:p>
            <a:r>
              <a:rPr lang="nl-NL"/>
              <a:t>Klik om stijl te bewerken</a:t>
            </a:r>
          </a:p>
        </p:txBody>
      </p:sp>
      <p:sp>
        <p:nvSpPr>
          <p:cNvPr id="3" name="Tijdelijke aanduiding voor dianummer 2">
            <a:extLst>
              <a:ext uri="{FF2B5EF4-FFF2-40B4-BE49-F238E27FC236}">
                <a16:creationId xmlns:a16="http://schemas.microsoft.com/office/drawing/2014/main" id="{2FA0DC6E-25B9-412E-A918-174FF2789FD0}"/>
              </a:ext>
            </a:extLst>
          </p:cNvPr>
          <p:cNvSpPr>
            <a:spLocks noGrp="1"/>
          </p:cNvSpPr>
          <p:nvPr>
            <p:ph type="sldNum" sz="quarter" idx="10"/>
          </p:nvPr>
        </p:nvSpPr>
        <p:spPr/>
        <p:txBody>
          <a:bodyPr/>
          <a:lstStyle/>
          <a:p>
            <a:fld id="{86CB4B4D-7CA3-9044-876B-883B54F8677D}" type="slidenum">
              <a:rPr lang="nl-NL" smtClean="0"/>
              <a:pPr/>
              <a:t>‹nr.›</a:t>
            </a:fld>
            <a:endParaRPr lang="nl-NL"/>
          </a:p>
        </p:txBody>
      </p:sp>
      <p:sp>
        <p:nvSpPr>
          <p:cNvPr id="8" name="Tijdelijke aanduiding voor inhoud 6">
            <a:extLst>
              <a:ext uri="{FF2B5EF4-FFF2-40B4-BE49-F238E27FC236}">
                <a16:creationId xmlns:a16="http://schemas.microsoft.com/office/drawing/2014/main" id="{D00AA070-8E7E-443F-BB23-820E2193EA11}"/>
              </a:ext>
            </a:extLst>
          </p:cNvPr>
          <p:cNvSpPr>
            <a:spLocks noGrp="1"/>
          </p:cNvSpPr>
          <p:nvPr>
            <p:ph sz="quarter" idx="14"/>
          </p:nvPr>
        </p:nvSpPr>
        <p:spPr>
          <a:xfrm>
            <a:off x="12515086" y="4733924"/>
            <a:ext cx="10657651" cy="7777163"/>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3" name="Tijdelijke aanduiding voor afbeelding 4">
            <a:extLst>
              <a:ext uri="{FF2B5EF4-FFF2-40B4-BE49-F238E27FC236}">
                <a16:creationId xmlns:a16="http://schemas.microsoft.com/office/drawing/2014/main" id="{024C9BB8-ACEE-4675-B42D-CC6AB34CA284}"/>
              </a:ext>
            </a:extLst>
          </p:cNvPr>
          <p:cNvSpPr>
            <a:spLocks noGrp="1"/>
          </p:cNvSpPr>
          <p:nvPr>
            <p:ph type="pic" sz="quarter" idx="24" hasCustomPrompt="1"/>
          </p:nvPr>
        </p:nvSpPr>
        <p:spPr>
          <a:xfrm>
            <a:off x="2139696" y="2430050"/>
            <a:ext cx="8464265" cy="8442166"/>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pic>
        <p:nvPicPr>
          <p:cNvPr id="10" name="Afbeelding" descr="Afbeelding">
            <a:extLst>
              <a:ext uri="{FF2B5EF4-FFF2-40B4-BE49-F238E27FC236}">
                <a16:creationId xmlns:a16="http://schemas.microsoft.com/office/drawing/2014/main" id="{CFBBE631-CDAB-4364-A02F-19F210575B10}"/>
              </a:ext>
            </a:extLst>
          </p:cNvPr>
          <p:cNvPicPr>
            <a:picLocks noChangeAspect="1"/>
          </p:cNvPicPr>
          <p:nvPr userDrawn="1"/>
        </p:nvPicPr>
        <p:blipFill>
          <a:blip r:embed="rId2"/>
          <a:stretch>
            <a:fillRect/>
          </a:stretch>
        </p:blipFill>
        <p:spPr>
          <a:xfrm>
            <a:off x="427709" y="384185"/>
            <a:ext cx="1284949" cy="584201"/>
          </a:xfrm>
          <a:prstGeom prst="rect">
            <a:avLst/>
          </a:prstGeom>
          <a:ln w="12700">
            <a:miter lim="400000"/>
          </a:ln>
        </p:spPr>
      </p:pic>
      <p:sp>
        <p:nvSpPr>
          <p:cNvPr id="11" name="Tijdelijke aanduiding voor tekst 7">
            <a:extLst>
              <a:ext uri="{FF2B5EF4-FFF2-40B4-BE49-F238E27FC236}">
                <a16:creationId xmlns:a16="http://schemas.microsoft.com/office/drawing/2014/main" id="{F0E98F38-9A1E-48E9-9C00-C7A3D6EC5C17}"/>
              </a:ext>
            </a:extLst>
          </p:cNvPr>
          <p:cNvSpPr>
            <a:spLocks noGrp="1"/>
          </p:cNvSpPr>
          <p:nvPr>
            <p:ph type="body" sz="quarter" idx="25" hasCustomPrompt="1"/>
          </p:nvPr>
        </p:nvSpPr>
        <p:spPr>
          <a:xfrm>
            <a:off x="12515087" y="1620490"/>
            <a:ext cx="10662413" cy="722313"/>
          </a:xfrm>
        </p:spPr>
        <p:txBody>
          <a:bodyPr>
            <a:normAutofit/>
          </a:bodyPr>
          <a:lstStyle>
            <a:lvl1pPr>
              <a:defRPr sz="3000">
                <a:latin typeface="+mj-lt"/>
              </a:defRPr>
            </a:lvl1pPr>
          </a:lstStyle>
          <a:p>
            <a:pPr lvl="0"/>
            <a:r>
              <a:rPr lang="nl-NL"/>
              <a:t>Hoofdstuktitel Deel I: Titel</a:t>
            </a:r>
          </a:p>
        </p:txBody>
      </p:sp>
      <p:sp>
        <p:nvSpPr>
          <p:cNvPr id="12" name="Tijdelijke aanduiding voor datum 4">
            <a:extLst>
              <a:ext uri="{FF2B5EF4-FFF2-40B4-BE49-F238E27FC236}">
                <a16:creationId xmlns:a16="http://schemas.microsoft.com/office/drawing/2014/main" id="{0D018771-ECE0-48DF-A0E8-68E7B0D92E43}"/>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14" name="Tijdelijke aanduiding voor voettekst 4">
            <a:extLst>
              <a:ext uri="{FF2B5EF4-FFF2-40B4-BE49-F238E27FC236}">
                <a16:creationId xmlns:a16="http://schemas.microsoft.com/office/drawing/2014/main" id="{64E8777F-AC36-43C7-91B6-78E41D5B31FF}"/>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Tree>
    <p:extLst>
      <p:ext uri="{BB962C8B-B14F-4D97-AF65-F5344CB8AC3E}">
        <p14:creationId xmlns:p14="http://schemas.microsoft.com/office/powerpoint/2010/main" val="3478847619"/>
      </p:ext>
    </p:extLst>
  </p:cSld>
  <p:clrMapOvr>
    <a:masterClrMapping/>
  </p:clrMapOvr>
  <p:transition spd="med"/>
  <p:extLst>
    <p:ext uri="{DCECCB84-F9BA-43D5-87BE-67443E8EF086}">
      <p15:sldGuideLst xmlns:p15="http://schemas.microsoft.com/office/powerpoint/2012/main">
        <p15:guide id="9" orient="horz" pos="5386"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Quote met afbeelding">
    <p:bg>
      <p:bgPr>
        <a:blipFill dpi="0" rotWithShape="1">
          <a:blip r:embed="rId2">
            <a:lum/>
          </a:blip>
          <a:srcRect/>
          <a:stretch>
            <a:fillRect t="-6000" b="-6000"/>
          </a:stretch>
        </a:blipFill>
        <a:effectLst/>
      </p:bgPr>
    </p:bg>
    <p:spTree>
      <p:nvGrpSpPr>
        <p:cNvPr id="1" name=""/>
        <p:cNvGrpSpPr/>
        <p:nvPr/>
      </p:nvGrpSpPr>
      <p:grpSpPr>
        <a:xfrm>
          <a:off x="0" y="0"/>
          <a:ext cx="0" cy="0"/>
          <a:chOff x="0" y="0"/>
          <a:chExt cx="0" cy="0"/>
        </a:xfrm>
      </p:grpSpPr>
      <p:sp>
        <p:nvSpPr>
          <p:cNvPr id="2" name="Rechthoek 1">
            <a:extLst>
              <a:ext uri="{FF2B5EF4-FFF2-40B4-BE49-F238E27FC236}">
                <a16:creationId xmlns:a16="http://schemas.microsoft.com/office/drawing/2014/main" id="{F998D516-64AD-45CC-9EB0-E40AF9471A32}"/>
              </a:ext>
            </a:extLst>
          </p:cNvPr>
          <p:cNvSpPr/>
          <p:nvPr userDrawn="1"/>
        </p:nvSpPr>
        <p:spPr>
          <a:xfrm>
            <a:off x="0" y="0"/>
            <a:ext cx="24384000" cy="13716000"/>
          </a:xfrm>
          <a:prstGeom prst="rect">
            <a:avLst/>
          </a:prstGeom>
          <a:solidFill>
            <a:schemeClr val="tx1">
              <a:alpha val="2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endParaRPr>
          </a:p>
        </p:txBody>
      </p:sp>
      <p:sp>
        <p:nvSpPr>
          <p:cNvPr id="23" name="Auteur en datum"/>
          <p:cNvSpPr txBox="1">
            <a:spLocks noGrp="1"/>
          </p:cNvSpPr>
          <p:nvPr>
            <p:ph type="body" sz="quarter" idx="22" hasCustomPrompt="1"/>
          </p:nvPr>
        </p:nvSpPr>
        <p:spPr>
          <a:xfrm>
            <a:off x="6367463" y="8714431"/>
            <a:ext cx="12094274" cy="759385"/>
          </a:xfrm>
          <a:prstGeom prst="rect">
            <a:avLst/>
          </a:prstGeom>
        </p:spPr>
        <p:txBody>
          <a:bodyPr lIns="45719" tIns="45719" rIns="45719" bIns="45719">
            <a:noAutofit/>
          </a:bodyPr>
          <a:lstStyle>
            <a:lvl1pPr marL="0" indent="0" algn="ctr" defTabSz="825500">
              <a:lnSpc>
                <a:spcPct val="100000"/>
              </a:lnSpc>
              <a:spcBef>
                <a:spcPts val="0"/>
              </a:spcBef>
              <a:buSzTx/>
              <a:buNone/>
              <a:defRPr sz="4400" b="0">
                <a:solidFill>
                  <a:schemeClr val="bg1"/>
                </a:solidFill>
                <a:effectLst>
                  <a:outerShdw blurRad="38100" dist="38100" dir="2700000" algn="tl">
                    <a:srgbClr val="000000">
                      <a:alpha val="43137"/>
                    </a:srgbClr>
                  </a:outerShdw>
                </a:effectLst>
                <a:latin typeface="+mn-lt"/>
              </a:defRPr>
            </a:lvl1pPr>
          </a:lstStyle>
          <a:p>
            <a:r>
              <a:t>Auteur</a:t>
            </a:r>
          </a:p>
        </p:txBody>
      </p:sp>
      <p:sp>
        <p:nvSpPr>
          <p:cNvPr id="25" name="Dianummer"/>
          <p:cNvSpPr txBox="1">
            <a:spLocks noGrp="1"/>
          </p:cNvSpPr>
          <p:nvPr>
            <p:ph type="sldNum" sz="quarter" idx="2"/>
          </p:nvPr>
        </p:nvSpPr>
        <p:spPr>
          <a:xfrm>
            <a:off x="23177500" y="13878873"/>
            <a:ext cx="811276" cy="441146"/>
          </a:xfrm>
          <a:prstGeom prst="rect">
            <a:avLst/>
          </a:prstGeom>
        </p:spPr>
        <p:txBody>
          <a:bodyPr/>
          <a:lstStyle>
            <a:lvl1pPr>
              <a:defRPr/>
            </a:lvl1pPr>
          </a:lstStyle>
          <a:p>
            <a:fld id="{86CB4B4D-7CA3-9044-876B-883B54F8677D}" type="slidenum">
              <a:rPr lang="nl-NL" smtClean="0"/>
              <a:pPr/>
              <a:t>‹nr.›</a:t>
            </a:fld>
            <a:endParaRPr lang="nl-NL"/>
          </a:p>
        </p:txBody>
      </p:sp>
      <p:sp>
        <p:nvSpPr>
          <p:cNvPr id="3" name="Rechthoek: afgeronde diagonale hoeken 2">
            <a:extLst>
              <a:ext uri="{FF2B5EF4-FFF2-40B4-BE49-F238E27FC236}">
                <a16:creationId xmlns:a16="http://schemas.microsoft.com/office/drawing/2014/main" id="{383CEB31-EC20-4C54-BB29-D7D3E194A55C}"/>
              </a:ext>
            </a:extLst>
          </p:cNvPr>
          <p:cNvSpPr/>
          <p:nvPr userDrawn="1"/>
        </p:nvSpPr>
        <p:spPr>
          <a:xfrm>
            <a:off x="6000622" y="558000"/>
            <a:ext cx="12600000" cy="12600000"/>
          </a:xfrm>
          <a:prstGeom prst="round2DiagRect">
            <a:avLst>
              <a:gd name="adj1" fmla="val 44233"/>
              <a:gd name="adj2" fmla="val 0"/>
            </a:avLst>
          </a:prstGeom>
          <a:noFill/>
          <a:ln w="1905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nl-NL" sz="3200" b="0" i="0" u="none" strike="noStrike" cap="none" spc="0" normalizeH="0" baseline="0">
              <a:ln>
                <a:noFill/>
              </a:ln>
              <a:solidFill>
                <a:srgbClr val="FFFFFF"/>
              </a:solidFill>
              <a:effectLst/>
              <a:uFillTx/>
              <a:latin typeface="Source Sans Pro SemiBold" panose="020B0603030403020204" pitchFamily="34" charset="0"/>
              <a:ea typeface="Source Sans Pro SemiBold" panose="020B0603030403020204" pitchFamily="34" charset="0"/>
              <a:cs typeface="Helvetica Neue Medium"/>
              <a:sym typeface="Helvetica Neue Medium"/>
            </a:endParaRPr>
          </a:p>
        </p:txBody>
      </p:sp>
      <p:sp>
        <p:nvSpPr>
          <p:cNvPr id="4" name="Tijdelijke aanduiding voor tekst 3">
            <a:extLst>
              <a:ext uri="{FF2B5EF4-FFF2-40B4-BE49-F238E27FC236}">
                <a16:creationId xmlns:a16="http://schemas.microsoft.com/office/drawing/2014/main" id="{F2D46886-EF97-46E3-AE72-D2353D6FD964}"/>
              </a:ext>
            </a:extLst>
          </p:cNvPr>
          <p:cNvSpPr>
            <a:spLocks noGrp="1"/>
          </p:cNvSpPr>
          <p:nvPr>
            <p:ph type="body" sz="quarter" idx="23" hasCustomPrompt="1"/>
          </p:nvPr>
        </p:nvSpPr>
        <p:spPr>
          <a:xfrm>
            <a:off x="422730" y="385991"/>
            <a:ext cx="1290415" cy="587239"/>
          </a:xfrm>
          <a:blipFill>
            <a:blip r:embed="rId3">
              <a:extLst>
                <a:ext uri="{96DAC541-7B7A-43D3-8B79-37D633B846F1}">
                  <asvg:svgBlip xmlns:asvg="http://schemas.microsoft.com/office/drawing/2016/SVG/main" r:embed="rId4"/>
                </a:ext>
              </a:extLst>
            </a:blip>
            <a:stretch>
              <a:fillRect/>
            </a:stretch>
          </a:blipFill>
        </p:spPr>
        <p:txBody>
          <a:bodyPr/>
          <a:lstStyle>
            <a:lvl1pPr algn="ctr">
              <a:defRPr/>
            </a:lvl1pPr>
            <a:lvl5pPr>
              <a:defRPr/>
            </a:lvl5pPr>
          </a:lstStyle>
          <a:p>
            <a:pPr lvl="0"/>
            <a:r>
              <a:rPr lang="nl-NL"/>
              <a:t> </a:t>
            </a:r>
          </a:p>
        </p:txBody>
      </p:sp>
      <p:sp>
        <p:nvSpPr>
          <p:cNvPr id="17" name="Tijdelijke aanduiding voor tekst 16">
            <a:extLst>
              <a:ext uri="{FF2B5EF4-FFF2-40B4-BE49-F238E27FC236}">
                <a16:creationId xmlns:a16="http://schemas.microsoft.com/office/drawing/2014/main" id="{B13AD5A5-3AF4-4199-BC0A-812EC8CE8BCF}"/>
              </a:ext>
            </a:extLst>
          </p:cNvPr>
          <p:cNvSpPr>
            <a:spLocks noGrp="1"/>
          </p:cNvSpPr>
          <p:nvPr>
            <p:ph type="body" sz="quarter" idx="24" hasCustomPrompt="1"/>
          </p:nvPr>
        </p:nvSpPr>
        <p:spPr>
          <a:xfrm>
            <a:off x="6367463" y="3843338"/>
            <a:ext cx="12093575" cy="4712832"/>
          </a:xfrm>
        </p:spPr>
        <p:txBody>
          <a:bodyPr lIns="144000" tIns="144000" rIns="144000" bIns="144000" anchor="b">
            <a:noAutofit/>
          </a:bodyPr>
          <a:lstStyle>
            <a:lvl1pPr algn="ctr">
              <a:lnSpc>
                <a:spcPct val="100000"/>
              </a:lnSpc>
              <a:defRPr sz="7200" i="1">
                <a:solidFill>
                  <a:schemeClr val="bg1"/>
                </a:solidFill>
                <a:effectLst>
                  <a:outerShdw blurRad="38100" dist="38100" dir="2700000" algn="tl">
                    <a:srgbClr val="000000">
                      <a:alpha val="43137"/>
                    </a:srgbClr>
                  </a:outerShdw>
                </a:effectLst>
                <a:latin typeface="Source Sans Pro Light" panose="020B0403030403020204" pitchFamily="34" charset="0"/>
                <a:ea typeface="Source Sans Pro Light" panose="020B0403030403020204" pitchFamily="34" charset="0"/>
              </a:defRPr>
            </a:lvl1pPr>
            <a:lvl2pPr algn="ctr">
              <a:defRPr sz="7200">
                <a:latin typeface="+mj-lt"/>
              </a:defRPr>
            </a:lvl2pPr>
            <a:lvl3pPr algn="ctr">
              <a:defRPr sz="7200">
                <a:latin typeface="+mj-lt"/>
              </a:defRPr>
            </a:lvl3pPr>
            <a:lvl4pPr algn="ctr">
              <a:defRPr sz="7200">
                <a:latin typeface="+mj-lt"/>
              </a:defRPr>
            </a:lvl4pPr>
            <a:lvl5pPr algn="ctr">
              <a:defRPr sz="7200">
                <a:latin typeface="+mj-lt"/>
              </a:defRPr>
            </a:lvl5pPr>
          </a:lstStyle>
          <a:p>
            <a:pPr lvl="0"/>
            <a:r>
              <a:rPr lang="nl-NL"/>
              <a:t>“Het is tijd voor een gezonde leefwereld; </a:t>
            </a:r>
            <a:r>
              <a:rPr lang="nl-NL" err="1"/>
              <a:t>egovrij</a:t>
            </a:r>
            <a:r>
              <a:rPr lang="nl-NL"/>
              <a:t> en </a:t>
            </a:r>
            <a:r>
              <a:rPr lang="nl-NL" err="1"/>
              <a:t>ecovriendelijk</a:t>
            </a:r>
            <a:r>
              <a:rPr lang="nl-NL"/>
              <a:t>”</a:t>
            </a:r>
          </a:p>
        </p:txBody>
      </p:sp>
    </p:spTree>
    <p:extLst>
      <p:ext uri="{BB962C8B-B14F-4D97-AF65-F5344CB8AC3E}">
        <p14:creationId xmlns:p14="http://schemas.microsoft.com/office/powerpoint/2010/main" val="3678975288"/>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met licht vlak">
    <p:bg>
      <p:bgPr>
        <a:solidFill>
          <a:schemeClr val="bg1">
            <a:lumMod val="95000"/>
          </a:schemeClr>
        </a:solidFill>
        <a:effectLst/>
      </p:bgPr>
    </p:bg>
    <p:spTree>
      <p:nvGrpSpPr>
        <p:cNvPr id="1" name=""/>
        <p:cNvGrpSpPr/>
        <p:nvPr/>
      </p:nvGrpSpPr>
      <p:grpSpPr>
        <a:xfrm>
          <a:off x="0" y="0"/>
          <a:ext cx="0" cy="0"/>
          <a:chOff x="0" y="0"/>
          <a:chExt cx="0" cy="0"/>
        </a:xfrm>
      </p:grpSpPr>
      <p:sp>
        <p:nvSpPr>
          <p:cNvPr id="23" name="Auteur en datum"/>
          <p:cNvSpPr txBox="1">
            <a:spLocks noGrp="1"/>
          </p:cNvSpPr>
          <p:nvPr>
            <p:ph type="body" sz="quarter" idx="22" hasCustomPrompt="1"/>
          </p:nvPr>
        </p:nvSpPr>
        <p:spPr>
          <a:xfrm>
            <a:off x="6367463" y="8714431"/>
            <a:ext cx="12094274" cy="759385"/>
          </a:xfrm>
          <a:prstGeom prst="rect">
            <a:avLst/>
          </a:prstGeom>
        </p:spPr>
        <p:txBody>
          <a:bodyPr lIns="45719" tIns="45719" rIns="45719" bIns="45719">
            <a:noAutofit/>
          </a:bodyPr>
          <a:lstStyle>
            <a:lvl1pPr marL="0" indent="0" algn="ctr" defTabSz="825500">
              <a:lnSpc>
                <a:spcPct val="100000"/>
              </a:lnSpc>
              <a:spcBef>
                <a:spcPts val="0"/>
              </a:spcBef>
              <a:buSzTx/>
              <a:buNone/>
              <a:defRPr sz="4400" b="0">
                <a:solidFill>
                  <a:schemeClr val="tx1"/>
                </a:solidFill>
                <a:effectLst/>
                <a:latin typeface="+mn-lt"/>
              </a:defRPr>
            </a:lvl1pPr>
          </a:lstStyle>
          <a:p>
            <a:r>
              <a:t>Auteur</a:t>
            </a:r>
          </a:p>
        </p:txBody>
      </p:sp>
      <p:sp>
        <p:nvSpPr>
          <p:cNvPr id="25" name="Dianummer"/>
          <p:cNvSpPr txBox="1">
            <a:spLocks noGrp="1"/>
          </p:cNvSpPr>
          <p:nvPr>
            <p:ph type="sldNum" sz="quarter" idx="2"/>
          </p:nvPr>
        </p:nvSpPr>
        <p:spPr>
          <a:xfrm>
            <a:off x="23177500" y="13878873"/>
            <a:ext cx="811276" cy="441146"/>
          </a:xfrm>
          <a:prstGeom prst="rect">
            <a:avLst/>
          </a:prstGeom>
        </p:spPr>
        <p:txBody>
          <a:bodyPr/>
          <a:lstStyle>
            <a:lvl1pPr>
              <a:defRPr>
                <a:solidFill>
                  <a:schemeClr val="tx1"/>
                </a:solidFill>
              </a:defRPr>
            </a:lvl1pPr>
          </a:lstStyle>
          <a:p>
            <a:fld id="{86CB4B4D-7CA3-9044-876B-883B54F8677D}" type="slidenum">
              <a:rPr lang="nl-NL" smtClean="0"/>
              <a:pPr/>
              <a:t>‹nr.›</a:t>
            </a:fld>
            <a:endParaRPr lang="nl-NL"/>
          </a:p>
        </p:txBody>
      </p:sp>
      <p:sp>
        <p:nvSpPr>
          <p:cNvPr id="6" name="Tijdelijke aanduiding voor tekst 16">
            <a:extLst>
              <a:ext uri="{FF2B5EF4-FFF2-40B4-BE49-F238E27FC236}">
                <a16:creationId xmlns:a16="http://schemas.microsoft.com/office/drawing/2014/main" id="{C2EA114B-9641-4D6E-95FA-CC5B32E127A9}"/>
              </a:ext>
            </a:extLst>
          </p:cNvPr>
          <p:cNvSpPr>
            <a:spLocks noGrp="1"/>
          </p:cNvSpPr>
          <p:nvPr>
            <p:ph type="body" sz="quarter" idx="24" hasCustomPrompt="1"/>
          </p:nvPr>
        </p:nvSpPr>
        <p:spPr>
          <a:xfrm>
            <a:off x="6367463" y="3843338"/>
            <a:ext cx="12093575" cy="4712832"/>
          </a:xfrm>
        </p:spPr>
        <p:txBody>
          <a:bodyPr lIns="144000" tIns="144000" rIns="144000" bIns="144000" anchor="b">
            <a:noAutofit/>
          </a:bodyPr>
          <a:lstStyle>
            <a:lvl1pPr algn="ctr">
              <a:lnSpc>
                <a:spcPct val="100000"/>
              </a:lnSpc>
              <a:defRPr sz="7200" i="1">
                <a:solidFill>
                  <a:schemeClr val="tx1"/>
                </a:solidFill>
                <a:effectLst/>
                <a:latin typeface="Source Sans Pro Light" panose="020B0403030403020204" pitchFamily="34" charset="0"/>
                <a:ea typeface="Source Sans Pro Light" panose="020B0403030403020204" pitchFamily="34" charset="0"/>
              </a:defRPr>
            </a:lvl1pPr>
            <a:lvl2pPr algn="ctr">
              <a:defRPr sz="7200">
                <a:latin typeface="+mj-lt"/>
              </a:defRPr>
            </a:lvl2pPr>
            <a:lvl3pPr algn="ctr">
              <a:defRPr sz="7200">
                <a:latin typeface="+mj-lt"/>
              </a:defRPr>
            </a:lvl3pPr>
            <a:lvl4pPr algn="ctr">
              <a:defRPr sz="7200">
                <a:latin typeface="+mj-lt"/>
              </a:defRPr>
            </a:lvl4pPr>
            <a:lvl5pPr algn="ctr">
              <a:defRPr sz="7200">
                <a:latin typeface="+mj-lt"/>
              </a:defRPr>
            </a:lvl5pPr>
          </a:lstStyle>
          <a:p>
            <a:pPr lvl="0"/>
            <a:r>
              <a:rPr lang="nl-NL"/>
              <a:t>“Het is tijd voor een gezonde leefwereld; </a:t>
            </a:r>
            <a:r>
              <a:rPr lang="nl-NL" err="1"/>
              <a:t>egovrij</a:t>
            </a:r>
            <a:r>
              <a:rPr lang="nl-NL"/>
              <a:t> en </a:t>
            </a:r>
            <a:r>
              <a:rPr lang="nl-NL" err="1"/>
              <a:t>ecovriendelijk</a:t>
            </a:r>
            <a:r>
              <a:rPr lang="nl-NL"/>
              <a:t>”</a:t>
            </a:r>
          </a:p>
        </p:txBody>
      </p:sp>
      <p:sp>
        <p:nvSpPr>
          <p:cNvPr id="7" name="Rechthoek: afgeronde diagonale hoeken 6">
            <a:extLst>
              <a:ext uri="{FF2B5EF4-FFF2-40B4-BE49-F238E27FC236}">
                <a16:creationId xmlns:a16="http://schemas.microsoft.com/office/drawing/2014/main" id="{477C304F-D86B-4BEF-950F-091FDF0F53C3}"/>
              </a:ext>
            </a:extLst>
          </p:cNvPr>
          <p:cNvSpPr/>
          <p:nvPr userDrawn="1"/>
        </p:nvSpPr>
        <p:spPr>
          <a:xfrm>
            <a:off x="6000622" y="558000"/>
            <a:ext cx="12600000" cy="12600000"/>
          </a:xfrm>
          <a:prstGeom prst="round2DiagRect">
            <a:avLst>
              <a:gd name="adj1" fmla="val 44233"/>
              <a:gd name="adj2" fmla="val 0"/>
            </a:avLst>
          </a:prstGeom>
          <a:noFill/>
          <a:ln w="19050" cap="flat">
            <a:solidFill>
              <a:schemeClr val="tx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nl-NL" sz="3200" b="0" i="0" u="none" strike="noStrike" cap="none" spc="0" normalizeH="0" baseline="0">
              <a:ln>
                <a:noFill/>
              </a:ln>
              <a:solidFill>
                <a:srgbClr val="FFFFFF"/>
              </a:solidFill>
              <a:effectLst/>
              <a:uFillTx/>
              <a:latin typeface="Source Sans Pro SemiBold" panose="020B0603030403020204" pitchFamily="34" charset="0"/>
              <a:ea typeface="Source Sans Pro SemiBold" panose="020B0603030403020204" pitchFamily="34" charset="0"/>
              <a:cs typeface="Helvetica Neue Medium"/>
              <a:sym typeface="Helvetica Neue Medium"/>
            </a:endParaRPr>
          </a:p>
        </p:txBody>
      </p:sp>
    </p:spTree>
    <p:extLst>
      <p:ext uri="{BB962C8B-B14F-4D97-AF65-F5344CB8AC3E}">
        <p14:creationId xmlns:p14="http://schemas.microsoft.com/office/powerpoint/2010/main" val="1572712848"/>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kst links, quote rechts rood">
    <p:bg>
      <p:bgPr>
        <a:solidFill>
          <a:schemeClr val="accent5"/>
        </a:solidFill>
        <a:effectLst/>
      </p:bgPr>
    </p:bg>
    <p:spTree>
      <p:nvGrpSpPr>
        <p:cNvPr id="1" name=""/>
        <p:cNvGrpSpPr/>
        <p:nvPr/>
      </p:nvGrpSpPr>
      <p:grpSpPr>
        <a:xfrm>
          <a:off x="0" y="0"/>
          <a:ext cx="0" cy="0"/>
          <a:chOff x="0" y="0"/>
          <a:chExt cx="0" cy="0"/>
        </a:xfrm>
      </p:grpSpPr>
      <p:sp>
        <p:nvSpPr>
          <p:cNvPr id="11" name="Rechthoek 10">
            <a:extLst>
              <a:ext uri="{FF2B5EF4-FFF2-40B4-BE49-F238E27FC236}">
                <a16:creationId xmlns:a16="http://schemas.microsoft.com/office/drawing/2014/main" id="{551543E8-9224-4D73-A6D9-9A3F4B20E959}"/>
              </a:ext>
            </a:extLst>
          </p:cNvPr>
          <p:cNvSpPr/>
          <p:nvPr userDrawn="1"/>
        </p:nvSpPr>
        <p:spPr>
          <a:xfrm>
            <a:off x="-1" y="0"/>
            <a:ext cx="12194745" cy="137160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FFFFFF"/>
              </a:solidFill>
              <a:effectLst/>
              <a:uFillTx/>
              <a:latin typeface="Source Sans Pro SemiBold" panose="020B0603030403020204" pitchFamily="34" charset="0"/>
              <a:ea typeface="Source Sans Pro SemiBold" panose="020B0603030403020204" pitchFamily="34" charset="0"/>
              <a:cs typeface="Helvetica Neue Medium"/>
              <a:sym typeface="Helvetica Neue Medium"/>
            </a:endParaRPr>
          </a:p>
        </p:txBody>
      </p:sp>
      <p:sp>
        <p:nvSpPr>
          <p:cNvPr id="2" name="Titel 1">
            <a:extLst>
              <a:ext uri="{FF2B5EF4-FFF2-40B4-BE49-F238E27FC236}">
                <a16:creationId xmlns:a16="http://schemas.microsoft.com/office/drawing/2014/main" id="{6CC67F57-CD61-49A2-8791-5C19F7D0C4A4}"/>
              </a:ext>
            </a:extLst>
          </p:cNvPr>
          <p:cNvSpPr>
            <a:spLocks noGrp="1"/>
          </p:cNvSpPr>
          <p:nvPr>
            <p:ph type="title"/>
          </p:nvPr>
        </p:nvSpPr>
        <p:spPr>
          <a:xfrm>
            <a:off x="1712658" y="2516047"/>
            <a:ext cx="10156254" cy="1524272"/>
          </a:xfrm>
        </p:spPr>
        <p:txBody>
          <a:bodyPr/>
          <a:lstStyle/>
          <a:p>
            <a:r>
              <a:rPr lang="nl-NL"/>
              <a:t>Klik om stijl te bewerken</a:t>
            </a:r>
          </a:p>
        </p:txBody>
      </p:sp>
      <p:sp>
        <p:nvSpPr>
          <p:cNvPr id="3" name="Tijdelijke aanduiding voor dianummer 2">
            <a:extLst>
              <a:ext uri="{FF2B5EF4-FFF2-40B4-BE49-F238E27FC236}">
                <a16:creationId xmlns:a16="http://schemas.microsoft.com/office/drawing/2014/main" id="{2FA0DC6E-25B9-412E-A918-174FF2789FD0}"/>
              </a:ext>
            </a:extLst>
          </p:cNvPr>
          <p:cNvSpPr>
            <a:spLocks noGrp="1"/>
          </p:cNvSpPr>
          <p:nvPr>
            <p:ph type="sldNum" sz="quarter" idx="10"/>
          </p:nvPr>
        </p:nvSpPr>
        <p:spPr/>
        <p:txBody>
          <a:bodyPr/>
          <a:lstStyle/>
          <a:p>
            <a:fld id="{86CB4B4D-7CA3-9044-876B-883B54F8677D}" type="slidenum">
              <a:rPr lang="nl-NL" smtClean="0"/>
              <a:pPr/>
              <a:t>‹nr.›</a:t>
            </a:fld>
            <a:endParaRPr lang="nl-NL"/>
          </a:p>
        </p:txBody>
      </p:sp>
      <p:sp>
        <p:nvSpPr>
          <p:cNvPr id="7" name="Tijdelijke aanduiding voor inhoud 6">
            <a:extLst>
              <a:ext uri="{FF2B5EF4-FFF2-40B4-BE49-F238E27FC236}">
                <a16:creationId xmlns:a16="http://schemas.microsoft.com/office/drawing/2014/main" id="{46F2A3CA-7135-4C73-8C32-229646843285}"/>
              </a:ext>
            </a:extLst>
          </p:cNvPr>
          <p:cNvSpPr>
            <a:spLocks noGrp="1"/>
          </p:cNvSpPr>
          <p:nvPr>
            <p:ph sz="quarter" idx="13"/>
          </p:nvPr>
        </p:nvSpPr>
        <p:spPr>
          <a:xfrm>
            <a:off x="1712659" y="4733924"/>
            <a:ext cx="10156254" cy="7765923"/>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0" name="Tijdelijke aanduiding voor tekst 7">
            <a:extLst>
              <a:ext uri="{FF2B5EF4-FFF2-40B4-BE49-F238E27FC236}">
                <a16:creationId xmlns:a16="http://schemas.microsoft.com/office/drawing/2014/main" id="{C20780F3-9874-42E2-9134-8654A0E10E45}"/>
              </a:ext>
            </a:extLst>
          </p:cNvPr>
          <p:cNvSpPr>
            <a:spLocks noGrp="1"/>
          </p:cNvSpPr>
          <p:nvPr>
            <p:ph type="body" sz="quarter" idx="14" hasCustomPrompt="1"/>
          </p:nvPr>
        </p:nvSpPr>
        <p:spPr>
          <a:xfrm>
            <a:off x="1712913" y="1620490"/>
            <a:ext cx="10155999" cy="722313"/>
          </a:xfrm>
        </p:spPr>
        <p:txBody>
          <a:bodyPr>
            <a:normAutofit/>
          </a:bodyPr>
          <a:lstStyle>
            <a:lvl1pPr>
              <a:defRPr sz="3000">
                <a:latin typeface="+mj-lt"/>
              </a:defRPr>
            </a:lvl1pPr>
          </a:lstStyle>
          <a:p>
            <a:pPr lvl="0"/>
            <a:r>
              <a:rPr lang="nl-NL"/>
              <a:t>Hoofdstuktitel Deel I: Titel</a:t>
            </a:r>
          </a:p>
        </p:txBody>
      </p:sp>
      <p:sp>
        <p:nvSpPr>
          <p:cNvPr id="12" name="Tijdelijke aanduiding voor datum 4">
            <a:extLst>
              <a:ext uri="{FF2B5EF4-FFF2-40B4-BE49-F238E27FC236}">
                <a16:creationId xmlns:a16="http://schemas.microsoft.com/office/drawing/2014/main" id="{C0AD3576-C793-4DF7-B360-175EEA605697}"/>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13" name="Tijdelijke aanduiding voor voettekst 4">
            <a:extLst>
              <a:ext uri="{FF2B5EF4-FFF2-40B4-BE49-F238E27FC236}">
                <a16:creationId xmlns:a16="http://schemas.microsoft.com/office/drawing/2014/main" id="{7B936297-777D-419D-9DA3-7CCD322AF7FD}"/>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
        <p:nvSpPr>
          <p:cNvPr id="6" name="Tijdelijke aanduiding voor tekst 5">
            <a:extLst>
              <a:ext uri="{FF2B5EF4-FFF2-40B4-BE49-F238E27FC236}">
                <a16:creationId xmlns:a16="http://schemas.microsoft.com/office/drawing/2014/main" id="{A39F3B13-F143-46FD-9AE2-CD0F40B88A16}"/>
              </a:ext>
            </a:extLst>
          </p:cNvPr>
          <p:cNvSpPr>
            <a:spLocks noGrp="1"/>
          </p:cNvSpPr>
          <p:nvPr>
            <p:ph type="body" sz="quarter" idx="15"/>
          </p:nvPr>
        </p:nvSpPr>
        <p:spPr>
          <a:xfrm>
            <a:off x="13581571" y="1700213"/>
            <a:ext cx="9652000" cy="10799762"/>
          </a:xfrm>
        </p:spPr>
        <p:txBody>
          <a:bodyPr anchor="ctr"/>
          <a:lstStyle>
            <a:lvl1pPr>
              <a:defRPr kumimoji="0" lang="nl-NL" sz="6600" b="1" i="1" u="none" strike="noStrike" cap="none" spc="-232" normalizeH="0" baseline="0" smtClean="0">
                <a:ln>
                  <a:noFill/>
                </a:ln>
                <a:solidFill>
                  <a:srgbClr val="FFFFFF"/>
                </a:solidFill>
                <a:effectLst/>
                <a:uFillTx/>
                <a:latin typeface="Source Sans Pro SemiBold" panose="020B0603030403020204" pitchFamily="34" charset="0"/>
                <a:ea typeface="Source Sans Pro SemiBold" panose="020B0603030403020204" pitchFamily="34" charset="0"/>
                <a:cs typeface="Source Sans Pro SemiBold"/>
                <a:sym typeface="Helvetica Neue"/>
              </a:defRPr>
            </a:lvl1pPr>
          </a:lstStyle>
          <a:p>
            <a:pPr lvl="0"/>
            <a:r>
              <a:rPr lang="nl-NL"/>
              <a:t>Klikken om de tekststijl van het model te bewerken</a:t>
            </a:r>
          </a:p>
        </p:txBody>
      </p:sp>
    </p:spTree>
    <p:extLst>
      <p:ext uri="{BB962C8B-B14F-4D97-AF65-F5344CB8AC3E}">
        <p14:creationId xmlns:p14="http://schemas.microsoft.com/office/powerpoint/2010/main" val="263822626"/>
      </p:ext>
    </p:extLst>
  </p:cSld>
  <p:clrMapOvr>
    <a:masterClrMapping/>
  </p:clrMapOvr>
  <p:transition spd="med"/>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kst links, quote rechts geel">
    <p:bg>
      <p:bgPr>
        <a:solidFill>
          <a:schemeClr val="accent4"/>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C67F57-CD61-49A2-8791-5C19F7D0C4A4}"/>
              </a:ext>
            </a:extLst>
          </p:cNvPr>
          <p:cNvSpPr>
            <a:spLocks noGrp="1"/>
          </p:cNvSpPr>
          <p:nvPr>
            <p:ph type="title"/>
          </p:nvPr>
        </p:nvSpPr>
        <p:spPr>
          <a:xfrm>
            <a:off x="1712658" y="2516047"/>
            <a:ext cx="10156254" cy="1524272"/>
          </a:xfrm>
        </p:spPr>
        <p:txBody>
          <a:bodyPr/>
          <a:lstStyle/>
          <a:p>
            <a:r>
              <a:rPr lang="nl-NL"/>
              <a:t>Klik om stijl te bewerken</a:t>
            </a:r>
          </a:p>
        </p:txBody>
      </p:sp>
      <p:sp>
        <p:nvSpPr>
          <p:cNvPr id="3" name="Tijdelijke aanduiding voor dianummer 2">
            <a:extLst>
              <a:ext uri="{FF2B5EF4-FFF2-40B4-BE49-F238E27FC236}">
                <a16:creationId xmlns:a16="http://schemas.microsoft.com/office/drawing/2014/main" id="{2FA0DC6E-25B9-412E-A918-174FF2789FD0}"/>
              </a:ext>
            </a:extLst>
          </p:cNvPr>
          <p:cNvSpPr>
            <a:spLocks noGrp="1"/>
          </p:cNvSpPr>
          <p:nvPr>
            <p:ph type="sldNum" sz="quarter" idx="10"/>
          </p:nvPr>
        </p:nvSpPr>
        <p:spPr/>
        <p:txBody>
          <a:bodyPr/>
          <a:lstStyle/>
          <a:p>
            <a:fld id="{86CB4B4D-7CA3-9044-876B-883B54F8677D}" type="slidenum">
              <a:rPr lang="nl-NL" smtClean="0"/>
              <a:pPr/>
              <a:t>‹nr.›</a:t>
            </a:fld>
            <a:endParaRPr lang="nl-NL"/>
          </a:p>
        </p:txBody>
      </p:sp>
      <p:sp>
        <p:nvSpPr>
          <p:cNvPr id="7" name="Tijdelijke aanduiding voor inhoud 6">
            <a:extLst>
              <a:ext uri="{FF2B5EF4-FFF2-40B4-BE49-F238E27FC236}">
                <a16:creationId xmlns:a16="http://schemas.microsoft.com/office/drawing/2014/main" id="{46F2A3CA-7135-4C73-8C32-229646843285}"/>
              </a:ext>
            </a:extLst>
          </p:cNvPr>
          <p:cNvSpPr>
            <a:spLocks noGrp="1"/>
          </p:cNvSpPr>
          <p:nvPr>
            <p:ph sz="quarter" idx="13"/>
          </p:nvPr>
        </p:nvSpPr>
        <p:spPr>
          <a:xfrm>
            <a:off x="1712659" y="4733924"/>
            <a:ext cx="10156254" cy="776592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0" name="Tijdelijke aanduiding voor tekst 7">
            <a:extLst>
              <a:ext uri="{FF2B5EF4-FFF2-40B4-BE49-F238E27FC236}">
                <a16:creationId xmlns:a16="http://schemas.microsoft.com/office/drawing/2014/main" id="{C20780F3-9874-42E2-9134-8654A0E10E45}"/>
              </a:ext>
            </a:extLst>
          </p:cNvPr>
          <p:cNvSpPr>
            <a:spLocks noGrp="1"/>
          </p:cNvSpPr>
          <p:nvPr>
            <p:ph type="body" sz="quarter" idx="14" hasCustomPrompt="1"/>
          </p:nvPr>
        </p:nvSpPr>
        <p:spPr>
          <a:xfrm>
            <a:off x="1712913" y="1620490"/>
            <a:ext cx="10155999" cy="722313"/>
          </a:xfrm>
        </p:spPr>
        <p:txBody>
          <a:bodyPr>
            <a:normAutofit/>
          </a:bodyPr>
          <a:lstStyle>
            <a:lvl1pPr>
              <a:defRPr sz="3000">
                <a:latin typeface="+mj-lt"/>
              </a:defRPr>
            </a:lvl1pPr>
          </a:lstStyle>
          <a:p>
            <a:pPr lvl="0"/>
            <a:r>
              <a:rPr lang="nl-NL"/>
              <a:t>Hoofdstuktitel Deel I: Titel</a:t>
            </a:r>
          </a:p>
        </p:txBody>
      </p:sp>
      <p:sp>
        <p:nvSpPr>
          <p:cNvPr id="12" name="Tijdelijke aanduiding voor datum 4">
            <a:extLst>
              <a:ext uri="{FF2B5EF4-FFF2-40B4-BE49-F238E27FC236}">
                <a16:creationId xmlns:a16="http://schemas.microsoft.com/office/drawing/2014/main" id="{C0AD3576-C793-4DF7-B360-175EEA605697}"/>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13" name="Tijdelijke aanduiding voor voettekst 4">
            <a:extLst>
              <a:ext uri="{FF2B5EF4-FFF2-40B4-BE49-F238E27FC236}">
                <a16:creationId xmlns:a16="http://schemas.microsoft.com/office/drawing/2014/main" id="{7B936297-777D-419D-9DA3-7CCD322AF7FD}"/>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
        <p:nvSpPr>
          <p:cNvPr id="6" name="Tijdelijke aanduiding voor tekst 5">
            <a:extLst>
              <a:ext uri="{FF2B5EF4-FFF2-40B4-BE49-F238E27FC236}">
                <a16:creationId xmlns:a16="http://schemas.microsoft.com/office/drawing/2014/main" id="{A39F3B13-F143-46FD-9AE2-CD0F40B88A16}"/>
              </a:ext>
            </a:extLst>
          </p:cNvPr>
          <p:cNvSpPr>
            <a:spLocks noGrp="1"/>
          </p:cNvSpPr>
          <p:nvPr>
            <p:ph type="body" sz="quarter" idx="15"/>
          </p:nvPr>
        </p:nvSpPr>
        <p:spPr>
          <a:xfrm>
            <a:off x="13581571" y="1700213"/>
            <a:ext cx="9652000" cy="10799762"/>
          </a:xfrm>
        </p:spPr>
        <p:txBody>
          <a:bodyPr anchor="ctr"/>
          <a:lstStyle>
            <a:lvl1pPr>
              <a:defRPr kumimoji="0" lang="nl-NL" sz="6600" b="1" i="1" u="none" strike="noStrike" cap="none" spc="-232" normalizeH="0" baseline="0" smtClean="0">
                <a:ln>
                  <a:noFill/>
                </a:ln>
                <a:solidFill>
                  <a:schemeClr val="tx1"/>
                </a:solidFill>
                <a:effectLst/>
                <a:uFillTx/>
                <a:latin typeface="Source Sans Pro SemiBold" panose="020B0603030403020204" pitchFamily="34" charset="0"/>
                <a:ea typeface="Source Sans Pro SemiBold" panose="020B0603030403020204" pitchFamily="34" charset="0"/>
                <a:cs typeface="Source Sans Pro SemiBold"/>
                <a:sym typeface="Helvetica Neue"/>
              </a:defRPr>
            </a:lvl1pPr>
          </a:lstStyle>
          <a:p>
            <a:pPr lvl="0"/>
            <a:r>
              <a:rPr lang="nl-NL"/>
              <a:t>Klikken om de tekststijl van het model te bewerken</a:t>
            </a:r>
          </a:p>
        </p:txBody>
      </p:sp>
      <p:sp>
        <p:nvSpPr>
          <p:cNvPr id="11" name="Rechthoek 10">
            <a:extLst>
              <a:ext uri="{FF2B5EF4-FFF2-40B4-BE49-F238E27FC236}">
                <a16:creationId xmlns:a16="http://schemas.microsoft.com/office/drawing/2014/main" id="{CA8EF24D-315F-46A4-8573-AB48D27D7DA7}"/>
              </a:ext>
            </a:extLst>
          </p:cNvPr>
          <p:cNvSpPr/>
          <p:nvPr userDrawn="1"/>
        </p:nvSpPr>
        <p:spPr>
          <a:xfrm>
            <a:off x="-1" y="0"/>
            <a:ext cx="12194745" cy="137160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FFFFFF"/>
              </a:solidFill>
              <a:effectLst/>
              <a:uFillTx/>
              <a:latin typeface="Source Sans Pro SemiBold" panose="020B0603030403020204" pitchFamily="34" charset="0"/>
              <a:ea typeface="Source Sans Pro SemiBold" panose="020B0603030403020204" pitchFamily="34" charset="0"/>
              <a:cs typeface="Helvetica Neue Medium"/>
              <a:sym typeface="Helvetica Neue Medium"/>
            </a:endParaRPr>
          </a:p>
        </p:txBody>
      </p:sp>
    </p:spTree>
    <p:extLst>
      <p:ext uri="{BB962C8B-B14F-4D97-AF65-F5344CB8AC3E}">
        <p14:creationId xmlns:p14="http://schemas.microsoft.com/office/powerpoint/2010/main" val="2855150521"/>
      </p:ext>
    </p:extLst>
  </p:cSld>
  <p:clrMapOvr>
    <a:masterClrMapping/>
  </p:clrMapOvr>
  <p:transition spd="med"/>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kst links, quote rechts cyaan">
    <p:bg>
      <p:bgPr>
        <a:solidFill>
          <a:schemeClr val="accent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C67F57-CD61-49A2-8791-5C19F7D0C4A4}"/>
              </a:ext>
            </a:extLst>
          </p:cNvPr>
          <p:cNvSpPr>
            <a:spLocks noGrp="1"/>
          </p:cNvSpPr>
          <p:nvPr>
            <p:ph type="title"/>
          </p:nvPr>
        </p:nvSpPr>
        <p:spPr>
          <a:xfrm>
            <a:off x="1712658" y="2516047"/>
            <a:ext cx="10156254" cy="1524272"/>
          </a:xfrm>
        </p:spPr>
        <p:txBody>
          <a:bodyPr/>
          <a:lstStyle/>
          <a:p>
            <a:r>
              <a:rPr lang="nl-NL"/>
              <a:t>Klik om stijl te bewerken</a:t>
            </a:r>
          </a:p>
        </p:txBody>
      </p:sp>
      <p:sp>
        <p:nvSpPr>
          <p:cNvPr id="3" name="Tijdelijke aanduiding voor dianummer 2">
            <a:extLst>
              <a:ext uri="{FF2B5EF4-FFF2-40B4-BE49-F238E27FC236}">
                <a16:creationId xmlns:a16="http://schemas.microsoft.com/office/drawing/2014/main" id="{2FA0DC6E-25B9-412E-A918-174FF2789FD0}"/>
              </a:ext>
            </a:extLst>
          </p:cNvPr>
          <p:cNvSpPr>
            <a:spLocks noGrp="1"/>
          </p:cNvSpPr>
          <p:nvPr>
            <p:ph type="sldNum" sz="quarter" idx="10"/>
          </p:nvPr>
        </p:nvSpPr>
        <p:spPr/>
        <p:txBody>
          <a:bodyPr/>
          <a:lstStyle/>
          <a:p>
            <a:fld id="{86CB4B4D-7CA3-9044-876B-883B54F8677D}" type="slidenum">
              <a:rPr lang="nl-NL" smtClean="0"/>
              <a:pPr/>
              <a:t>‹nr.›</a:t>
            </a:fld>
            <a:endParaRPr lang="nl-NL"/>
          </a:p>
        </p:txBody>
      </p:sp>
      <p:sp>
        <p:nvSpPr>
          <p:cNvPr id="7" name="Tijdelijke aanduiding voor inhoud 6">
            <a:extLst>
              <a:ext uri="{FF2B5EF4-FFF2-40B4-BE49-F238E27FC236}">
                <a16:creationId xmlns:a16="http://schemas.microsoft.com/office/drawing/2014/main" id="{46F2A3CA-7135-4C73-8C32-229646843285}"/>
              </a:ext>
            </a:extLst>
          </p:cNvPr>
          <p:cNvSpPr>
            <a:spLocks noGrp="1"/>
          </p:cNvSpPr>
          <p:nvPr>
            <p:ph sz="quarter" idx="13"/>
          </p:nvPr>
        </p:nvSpPr>
        <p:spPr>
          <a:xfrm>
            <a:off x="1712659" y="4733924"/>
            <a:ext cx="10156254" cy="776592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0" name="Tijdelijke aanduiding voor tekst 7">
            <a:extLst>
              <a:ext uri="{FF2B5EF4-FFF2-40B4-BE49-F238E27FC236}">
                <a16:creationId xmlns:a16="http://schemas.microsoft.com/office/drawing/2014/main" id="{C20780F3-9874-42E2-9134-8654A0E10E45}"/>
              </a:ext>
            </a:extLst>
          </p:cNvPr>
          <p:cNvSpPr>
            <a:spLocks noGrp="1"/>
          </p:cNvSpPr>
          <p:nvPr>
            <p:ph type="body" sz="quarter" idx="14" hasCustomPrompt="1"/>
          </p:nvPr>
        </p:nvSpPr>
        <p:spPr>
          <a:xfrm>
            <a:off x="1712913" y="1620490"/>
            <a:ext cx="10155999" cy="722313"/>
          </a:xfrm>
        </p:spPr>
        <p:txBody>
          <a:bodyPr>
            <a:normAutofit/>
          </a:bodyPr>
          <a:lstStyle>
            <a:lvl1pPr>
              <a:defRPr sz="3000">
                <a:latin typeface="+mj-lt"/>
              </a:defRPr>
            </a:lvl1pPr>
          </a:lstStyle>
          <a:p>
            <a:pPr lvl="0"/>
            <a:r>
              <a:rPr lang="nl-NL"/>
              <a:t>Hoofdstuktitel Deel I: Titel</a:t>
            </a:r>
          </a:p>
        </p:txBody>
      </p:sp>
      <p:sp>
        <p:nvSpPr>
          <p:cNvPr id="12" name="Tijdelijke aanduiding voor datum 4">
            <a:extLst>
              <a:ext uri="{FF2B5EF4-FFF2-40B4-BE49-F238E27FC236}">
                <a16:creationId xmlns:a16="http://schemas.microsoft.com/office/drawing/2014/main" id="{C0AD3576-C793-4DF7-B360-175EEA605697}"/>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13" name="Tijdelijke aanduiding voor voettekst 4">
            <a:extLst>
              <a:ext uri="{FF2B5EF4-FFF2-40B4-BE49-F238E27FC236}">
                <a16:creationId xmlns:a16="http://schemas.microsoft.com/office/drawing/2014/main" id="{7B936297-777D-419D-9DA3-7CCD322AF7FD}"/>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
        <p:nvSpPr>
          <p:cNvPr id="6" name="Tijdelijke aanduiding voor tekst 5">
            <a:extLst>
              <a:ext uri="{FF2B5EF4-FFF2-40B4-BE49-F238E27FC236}">
                <a16:creationId xmlns:a16="http://schemas.microsoft.com/office/drawing/2014/main" id="{A39F3B13-F143-46FD-9AE2-CD0F40B88A16}"/>
              </a:ext>
            </a:extLst>
          </p:cNvPr>
          <p:cNvSpPr>
            <a:spLocks noGrp="1"/>
          </p:cNvSpPr>
          <p:nvPr>
            <p:ph type="body" sz="quarter" idx="15"/>
          </p:nvPr>
        </p:nvSpPr>
        <p:spPr>
          <a:xfrm>
            <a:off x="13581571" y="1700213"/>
            <a:ext cx="9652000" cy="10799762"/>
          </a:xfrm>
        </p:spPr>
        <p:txBody>
          <a:bodyPr anchor="ctr"/>
          <a:lstStyle>
            <a:lvl1pPr>
              <a:defRPr kumimoji="0" lang="nl-NL" sz="6600" b="1" i="1" u="none" strike="noStrike" cap="none" spc="-232" normalizeH="0" baseline="0" smtClean="0">
                <a:ln>
                  <a:noFill/>
                </a:ln>
                <a:solidFill>
                  <a:srgbClr val="FFFFFF"/>
                </a:solidFill>
                <a:effectLst/>
                <a:uFillTx/>
                <a:latin typeface="Source Sans Pro SemiBold" panose="020B0603030403020204" pitchFamily="34" charset="0"/>
                <a:ea typeface="Source Sans Pro SemiBold" panose="020B0603030403020204" pitchFamily="34" charset="0"/>
                <a:cs typeface="Source Sans Pro SemiBold"/>
                <a:sym typeface="Helvetica Neue"/>
              </a:defRPr>
            </a:lvl1pPr>
          </a:lstStyle>
          <a:p>
            <a:pPr lvl="0"/>
            <a:r>
              <a:rPr lang="nl-NL"/>
              <a:t>Klikken om de tekststijl van het model te bewerken</a:t>
            </a:r>
          </a:p>
        </p:txBody>
      </p:sp>
      <p:sp>
        <p:nvSpPr>
          <p:cNvPr id="11" name="Rechthoek 10">
            <a:extLst>
              <a:ext uri="{FF2B5EF4-FFF2-40B4-BE49-F238E27FC236}">
                <a16:creationId xmlns:a16="http://schemas.microsoft.com/office/drawing/2014/main" id="{142AF8D2-C0EC-442B-8008-639749058BA7}"/>
              </a:ext>
            </a:extLst>
          </p:cNvPr>
          <p:cNvSpPr/>
          <p:nvPr userDrawn="1"/>
        </p:nvSpPr>
        <p:spPr>
          <a:xfrm>
            <a:off x="-1" y="0"/>
            <a:ext cx="12194745" cy="1371600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50800" tIns="50800" rIns="50800" bIns="50800" numCol="1" spcCol="38100" rtlCol="0" anchor="ctr">
            <a:no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FFFFFF"/>
              </a:solidFill>
              <a:effectLst/>
              <a:uFillTx/>
              <a:latin typeface="Source Sans Pro SemiBold" panose="020B0603030403020204" pitchFamily="34" charset="0"/>
              <a:ea typeface="Source Sans Pro SemiBold" panose="020B0603030403020204" pitchFamily="34" charset="0"/>
              <a:cs typeface="Helvetica Neue Medium"/>
              <a:sym typeface="Helvetica Neue Medium"/>
            </a:endParaRPr>
          </a:p>
        </p:txBody>
      </p:sp>
    </p:spTree>
    <p:extLst>
      <p:ext uri="{BB962C8B-B14F-4D97-AF65-F5344CB8AC3E}">
        <p14:creationId xmlns:p14="http://schemas.microsoft.com/office/powerpoint/2010/main" val="1716050998"/>
      </p:ext>
    </p:extLst>
  </p:cSld>
  <p:clrMapOvr>
    <a:masterClrMapping/>
  </p:clrMapOvr>
  <p:transition spd="med"/>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alf voor grafiek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C67F57-CD61-49A2-8791-5C19F7D0C4A4}"/>
              </a:ext>
            </a:extLst>
          </p:cNvPr>
          <p:cNvSpPr>
            <a:spLocks noGrp="1"/>
          </p:cNvSpPr>
          <p:nvPr>
            <p:ph type="title"/>
          </p:nvPr>
        </p:nvSpPr>
        <p:spPr>
          <a:xfrm>
            <a:off x="1712658" y="2516047"/>
            <a:ext cx="10479343" cy="1524272"/>
          </a:xfrm>
        </p:spPr>
        <p:txBody>
          <a:bodyPr/>
          <a:lstStyle/>
          <a:p>
            <a:r>
              <a:rPr lang="nl-NL"/>
              <a:t>Klik om stijl te bewerken</a:t>
            </a:r>
          </a:p>
        </p:txBody>
      </p:sp>
      <p:sp>
        <p:nvSpPr>
          <p:cNvPr id="3" name="Tijdelijke aanduiding voor dianummer 2">
            <a:extLst>
              <a:ext uri="{FF2B5EF4-FFF2-40B4-BE49-F238E27FC236}">
                <a16:creationId xmlns:a16="http://schemas.microsoft.com/office/drawing/2014/main" id="{2FA0DC6E-25B9-412E-A918-174FF2789FD0}"/>
              </a:ext>
            </a:extLst>
          </p:cNvPr>
          <p:cNvSpPr>
            <a:spLocks noGrp="1"/>
          </p:cNvSpPr>
          <p:nvPr>
            <p:ph type="sldNum" sz="quarter" idx="10"/>
          </p:nvPr>
        </p:nvSpPr>
        <p:spPr/>
        <p:txBody>
          <a:bodyPr/>
          <a:lstStyle/>
          <a:p>
            <a:fld id="{86CB4B4D-7CA3-9044-876B-883B54F8677D}" type="slidenum">
              <a:rPr lang="nl-NL" smtClean="0"/>
              <a:pPr/>
              <a:t>‹nr.›</a:t>
            </a:fld>
            <a:endParaRPr lang="nl-NL"/>
          </a:p>
        </p:txBody>
      </p:sp>
      <p:sp>
        <p:nvSpPr>
          <p:cNvPr id="7" name="Tijdelijke aanduiding voor inhoud 6">
            <a:extLst>
              <a:ext uri="{FF2B5EF4-FFF2-40B4-BE49-F238E27FC236}">
                <a16:creationId xmlns:a16="http://schemas.microsoft.com/office/drawing/2014/main" id="{46F2A3CA-7135-4C73-8C32-229646843285}"/>
              </a:ext>
            </a:extLst>
          </p:cNvPr>
          <p:cNvSpPr>
            <a:spLocks noGrp="1"/>
          </p:cNvSpPr>
          <p:nvPr>
            <p:ph sz="quarter" idx="13"/>
          </p:nvPr>
        </p:nvSpPr>
        <p:spPr>
          <a:xfrm>
            <a:off x="1712659" y="4672584"/>
            <a:ext cx="10479342" cy="7827264"/>
          </a:xfrm>
        </p:spPr>
        <p:txBody>
          <a:bodyPr/>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9" name="Tijdelijke aanduiding voor tekst 7">
            <a:extLst>
              <a:ext uri="{FF2B5EF4-FFF2-40B4-BE49-F238E27FC236}">
                <a16:creationId xmlns:a16="http://schemas.microsoft.com/office/drawing/2014/main" id="{A376AED8-1244-4BB8-9B1B-74DBC17C15C1}"/>
              </a:ext>
            </a:extLst>
          </p:cNvPr>
          <p:cNvSpPr>
            <a:spLocks noGrp="1"/>
          </p:cNvSpPr>
          <p:nvPr>
            <p:ph type="body" sz="quarter" idx="14" hasCustomPrompt="1"/>
          </p:nvPr>
        </p:nvSpPr>
        <p:spPr>
          <a:xfrm>
            <a:off x="1712913" y="1620490"/>
            <a:ext cx="10479087" cy="722313"/>
          </a:xfrm>
        </p:spPr>
        <p:txBody>
          <a:bodyPr>
            <a:normAutofit/>
          </a:bodyPr>
          <a:lstStyle>
            <a:lvl1pPr>
              <a:defRPr sz="3000">
                <a:latin typeface="+mj-lt"/>
              </a:defRPr>
            </a:lvl1pPr>
          </a:lstStyle>
          <a:p>
            <a:pPr lvl="0"/>
            <a:r>
              <a:rPr lang="nl-NL"/>
              <a:t>Hoofdstuktitel Deel I: Titel</a:t>
            </a:r>
          </a:p>
        </p:txBody>
      </p:sp>
      <p:sp>
        <p:nvSpPr>
          <p:cNvPr id="10" name="Tijdelijke aanduiding voor datum 4">
            <a:extLst>
              <a:ext uri="{FF2B5EF4-FFF2-40B4-BE49-F238E27FC236}">
                <a16:creationId xmlns:a16="http://schemas.microsoft.com/office/drawing/2014/main" id="{CC444132-ABD5-46E1-9E26-7F6CB10C2421}"/>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13" name="Tijdelijke aanduiding voor voettekst 4">
            <a:extLst>
              <a:ext uri="{FF2B5EF4-FFF2-40B4-BE49-F238E27FC236}">
                <a16:creationId xmlns:a16="http://schemas.microsoft.com/office/drawing/2014/main" id="{9ADC3D26-8D3B-4011-8378-F3630EC3799D}"/>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Tree>
    <p:extLst>
      <p:ext uri="{BB962C8B-B14F-4D97-AF65-F5344CB8AC3E}">
        <p14:creationId xmlns:p14="http://schemas.microsoft.com/office/powerpoint/2010/main" val="895123140"/>
      </p:ext>
    </p:extLst>
  </p:cSld>
  <p:clrMapOvr>
    <a:masterClrMapping/>
  </p:clrMapOvr>
  <p:transition spd="med"/>
  <p:extLst>
    <p:ext uri="{DCECCB84-F9BA-43D5-87BE-67443E8EF086}">
      <p15:sldGuideLst xmlns:p15="http://schemas.microsoft.com/office/powerpoint/2012/main">
        <p15:guide id="2" pos="7680" userDrawn="1">
          <p15:clr>
            <a:srgbClr val="FBAE40"/>
          </p15:clr>
        </p15:guide>
        <p15:guide id="3" pos="1080" userDrawn="1">
          <p15:clr>
            <a:srgbClr val="FBAE40"/>
          </p15:clr>
        </p15:guide>
        <p15:guide id="4" pos="14597" userDrawn="1">
          <p15:clr>
            <a:srgbClr val="FBAE40"/>
          </p15:clr>
        </p15:guide>
        <p15:guide id="5" orient="horz" pos="2937" userDrawn="1">
          <p15:clr>
            <a:srgbClr val="FBAE40"/>
          </p15:clr>
        </p15:guide>
        <p15:guide id="6" orient="horz" pos="7881" userDrawn="1">
          <p15:clr>
            <a:srgbClr val="FBAE40"/>
          </p15:clr>
        </p15:guide>
        <p15:guide id="7" orient="horz" pos="2551" userDrawn="1">
          <p15:clr>
            <a:srgbClr val="FBAE40"/>
          </p15:clr>
        </p15:guide>
        <p15:guide id="8" orient="horz" pos="1530" userDrawn="1">
          <p15:clr>
            <a:srgbClr val="FBAE40"/>
          </p15:clr>
        </p15:guide>
        <p15:guide id="9" orient="horz" pos="5386"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3 mensen">
    <p:spTree>
      <p:nvGrpSpPr>
        <p:cNvPr id="1" name=""/>
        <p:cNvGrpSpPr/>
        <p:nvPr/>
      </p:nvGrpSpPr>
      <p:grpSpPr>
        <a:xfrm>
          <a:off x="0" y="0"/>
          <a:ext cx="0" cy="0"/>
          <a:chOff x="0" y="0"/>
          <a:chExt cx="0" cy="0"/>
        </a:xfrm>
      </p:grpSpPr>
      <p:sp>
        <p:nvSpPr>
          <p:cNvPr id="13" name="Tijdelijke aanduiding voor afbeelding 4">
            <a:extLst>
              <a:ext uri="{FF2B5EF4-FFF2-40B4-BE49-F238E27FC236}">
                <a16:creationId xmlns:a16="http://schemas.microsoft.com/office/drawing/2014/main" id="{17349256-0583-4A98-8C82-CDA06C6F12EF}"/>
              </a:ext>
            </a:extLst>
          </p:cNvPr>
          <p:cNvSpPr>
            <a:spLocks noGrp="1"/>
          </p:cNvSpPr>
          <p:nvPr>
            <p:ph type="pic" sz="quarter" idx="24" hasCustomPrompt="1"/>
          </p:nvPr>
        </p:nvSpPr>
        <p:spPr>
          <a:xfrm>
            <a:off x="5478430" y="1674301"/>
            <a:ext cx="5169074" cy="5183699"/>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14" name="Tijdelijke aanduiding voor afbeelding 4">
            <a:extLst>
              <a:ext uri="{FF2B5EF4-FFF2-40B4-BE49-F238E27FC236}">
                <a16:creationId xmlns:a16="http://schemas.microsoft.com/office/drawing/2014/main" id="{8072D5DF-EE87-450C-8C75-E902EEF55275}"/>
              </a:ext>
            </a:extLst>
          </p:cNvPr>
          <p:cNvSpPr>
            <a:spLocks noGrp="1"/>
          </p:cNvSpPr>
          <p:nvPr>
            <p:ph type="pic" sz="quarter" idx="25" hasCustomPrompt="1"/>
          </p:nvPr>
        </p:nvSpPr>
        <p:spPr>
          <a:xfrm>
            <a:off x="11666563" y="1646279"/>
            <a:ext cx="5169074" cy="5183699"/>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15" name="Tijdelijke aanduiding voor afbeelding 4">
            <a:extLst>
              <a:ext uri="{FF2B5EF4-FFF2-40B4-BE49-F238E27FC236}">
                <a16:creationId xmlns:a16="http://schemas.microsoft.com/office/drawing/2014/main" id="{D4AED5D6-D7A4-4ED9-9446-A277FC598057}"/>
              </a:ext>
            </a:extLst>
          </p:cNvPr>
          <p:cNvSpPr>
            <a:spLocks noGrp="1"/>
          </p:cNvSpPr>
          <p:nvPr>
            <p:ph type="pic" sz="quarter" idx="26" hasCustomPrompt="1"/>
          </p:nvPr>
        </p:nvSpPr>
        <p:spPr>
          <a:xfrm>
            <a:off x="17841995" y="1646279"/>
            <a:ext cx="5169074" cy="5183699"/>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2" name="Titel 1">
            <a:extLst>
              <a:ext uri="{FF2B5EF4-FFF2-40B4-BE49-F238E27FC236}">
                <a16:creationId xmlns:a16="http://schemas.microsoft.com/office/drawing/2014/main" id="{0A3FC00F-2287-47AD-9984-FA116F496624}"/>
              </a:ext>
            </a:extLst>
          </p:cNvPr>
          <p:cNvSpPr>
            <a:spLocks noGrp="1"/>
          </p:cNvSpPr>
          <p:nvPr>
            <p:ph type="title" hasCustomPrompt="1"/>
          </p:nvPr>
        </p:nvSpPr>
        <p:spPr>
          <a:xfrm>
            <a:off x="1712658" y="2516047"/>
            <a:ext cx="3389694" cy="1524272"/>
          </a:xfrm>
        </p:spPr>
        <p:txBody>
          <a:bodyPr/>
          <a:lstStyle>
            <a:lvl1pPr>
              <a:defRPr/>
            </a:lvl1pPr>
          </a:lstStyle>
          <a:p>
            <a:r>
              <a:rPr lang="nl-NL"/>
              <a:t>Titel</a:t>
            </a:r>
          </a:p>
        </p:txBody>
      </p:sp>
      <p:sp>
        <p:nvSpPr>
          <p:cNvPr id="3" name="Tijdelijke aanduiding voor dianummer 2">
            <a:extLst>
              <a:ext uri="{FF2B5EF4-FFF2-40B4-BE49-F238E27FC236}">
                <a16:creationId xmlns:a16="http://schemas.microsoft.com/office/drawing/2014/main" id="{DC440E65-E1B9-4478-9002-DC9C20CF062B}"/>
              </a:ext>
            </a:extLst>
          </p:cNvPr>
          <p:cNvSpPr>
            <a:spLocks noGrp="1"/>
          </p:cNvSpPr>
          <p:nvPr>
            <p:ph type="sldNum" sz="quarter" idx="10"/>
          </p:nvPr>
        </p:nvSpPr>
        <p:spPr/>
        <p:txBody>
          <a:bodyPr/>
          <a:lstStyle/>
          <a:p>
            <a:fld id="{86CB4B4D-7CA3-9044-876B-883B54F8677D}" type="slidenum">
              <a:rPr lang="nl-NL" smtClean="0"/>
              <a:pPr/>
              <a:t>‹nr.›</a:t>
            </a:fld>
            <a:endParaRPr lang="nl-NL"/>
          </a:p>
        </p:txBody>
      </p:sp>
      <p:sp>
        <p:nvSpPr>
          <p:cNvPr id="17" name="Tijdelijke aanduiding voor tekst 16">
            <a:extLst>
              <a:ext uri="{FF2B5EF4-FFF2-40B4-BE49-F238E27FC236}">
                <a16:creationId xmlns:a16="http://schemas.microsoft.com/office/drawing/2014/main" id="{94584A1C-E89C-4C4D-BBD3-B5A4C76A44EA}"/>
              </a:ext>
            </a:extLst>
          </p:cNvPr>
          <p:cNvSpPr>
            <a:spLocks noGrp="1"/>
          </p:cNvSpPr>
          <p:nvPr>
            <p:ph type="body" sz="quarter" idx="27" hasCustomPrompt="1"/>
          </p:nvPr>
        </p:nvSpPr>
        <p:spPr>
          <a:xfrm>
            <a:off x="5478430" y="5019675"/>
            <a:ext cx="1831975" cy="1838325"/>
          </a:xfrm>
          <a:prstGeom prst="round2DiagRect">
            <a:avLst>
              <a:gd name="adj1" fmla="val 36276"/>
              <a:gd name="adj2" fmla="val 0"/>
            </a:avLst>
          </a:prstGeom>
          <a:solidFill>
            <a:schemeClr val="accent1"/>
          </a:solidFill>
        </p:spPr>
        <p:txBody>
          <a:bodyPr anchor="ctr">
            <a:normAutofit/>
          </a:bodyPr>
          <a:lstStyle>
            <a:lvl1pPr>
              <a:defRPr sz="2000">
                <a:solidFill>
                  <a:schemeClr val="bg1"/>
                </a:solidFill>
                <a:latin typeface="+mj-lt"/>
              </a:defRPr>
            </a:lvl1pPr>
          </a:lstStyle>
          <a:p>
            <a:pPr lvl="0"/>
            <a:r>
              <a:rPr lang="nl-NL"/>
              <a:t>Naam</a:t>
            </a:r>
          </a:p>
        </p:txBody>
      </p:sp>
      <p:sp>
        <p:nvSpPr>
          <p:cNvPr id="18" name="Tijdelijke aanduiding voor tekst 16">
            <a:extLst>
              <a:ext uri="{FF2B5EF4-FFF2-40B4-BE49-F238E27FC236}">
                <a16:creationId xmlns:a16="http://schemas.microsoft.com/office/drawing/2014/main" id="{4803155F-CA8B-4BFC-A575-05A09262435B}"/>
              </a:ext>
            </a:extLst>
          </p:cNvPr>
          <p:cNvSpPr>
            <a:spLocks noGrp="1"/>
          </p:cNvSpPr>
          <p:nvPr>
            <p:ph type="body" sz="quarter" idx="28" hasCustomPrompt="1"/>
          </p:nvPr>
        </p:nvSpPr>
        <p:spPr>
          <a:xfrm>
            <a:off x="11666563" y="4991653"/>
            <a:ext cx="1831975" cy="1838325"/>
          </a:xfrm>
          <a:prstGeom prst="round2DiagRect">
            <a:avLst>
              <a:gd name="adj1" fmla="val 36276"/>
              <a:gd name="adj2" fmla="val 0"/>
            </a:avLst>
          </a:prstGeom>
          <a:solidFill>
            <a:schemeClr val="accent3"/>
          </a:solidFill>
        </p:spPr>
        <p:txBody>
          <a:bodyPr anchor="ctr">
            <a:normAutofit/>
          </a:bodyPr>
          <a:lstStyle>
            <a:lvl1pPr>
              <a:defRPr sz="2000">
                <a:solidFill>
                  <a:schemeClr val="tx1"/>
                </a:solidFill>
                <a:latin typeface="+mj-lt"/>
              </a:defRPr>
            </a:lvl1pPr>
          </a:lstStyle>
          <a:p>
            <a:pPr lvl="0"/>
            <a:r>
              <a:rPr lang="nl-NL"/>
              <a:t>Naam</a:t>
            </a:r>
          </a:p>
        </p:txBody>
      </p:sp>
      <p:sp>
        <p:nvSpPr>
          <p:cNvPr id="19" name="Tijdelijke aanduiding voor tekst 16">
            <a:extLst>
              <a:ext uri="{FF2B5EF4-FFF2-40B4-BE49-F238E27FC236}">
                <a16:creationId xmlns:a16="http://schemas.microsoft.com/office/drawing/2014/main" id="{2294C1AC-93FC-47B9-8FDF-0596E48840E0}"/>
              </a:ext>
            </a:extLst>
          </p:cNvPr>
          <p:cNvSpPr>
            <a:spLocks noGrp="1"/>
          </p:cNvSpPr>
          <p:nvPr>
            <p:ph type="body" sz="quarter" idx="29" hasCustomPrompt="1"/>
          </p:nvPr>
        </p:nvSpPr>
        <p:spPr>
          <a:xfrm>
            <a:off x="17841995" y="4991653"/>
            <a:ext cx="1831975" cy="1838325"/>
          </a:xfrm>
          <a:prstGeom prst="round2DiagRect">
            <a:avLst>
              <a:gd name="adj1" fmla="val 36276"/>
              <a:gd name="adj2" fmla="val 0"/>
            </a:avLst>
          </a:prstGeom>
          <a:solidFill>
            <a:schemeClr val="accent5"/>
          </a:solidFill>
        </p:spPr>
        <p:txBody>
          <a:bodyPr anchor="ctr">
            <a:normAutofit/>
          </a:bodyPr>
          <a:lstStyle>
            <a:lvl1pPr>
              <a:defRPr sz="2000">
                <a:solidFill>
                  <a:schemeClr val="tx1"/>
                </a:solidFill>
                <a:latin typeface="+mj-lt"/>
              </a:defRPr>
            </a:lvl1pPr>
          </a:lstStyle>
          <a:p>
            <a:pPr lvl="0"/>
            <a:r>
              <a:rPr lang="nl-NL"/>
              <a:t>Naam</a:t>
            </a:r>
          </a:p>
        </p:txBody>
      </p:sp>
      <p:sp>
        <p:nvSpPr>
          <p:cNvPr id="21" name="Tijdelijke aanduiding voor tekst 20">
            <a:extLst>
              <a:ext uri="{FF2B5EF4-FFF2-40B4-BE49-F238E27FC236}">
                <a16:creationId xmlns:a16="http://schemas.microsoft.com/office/drawing/2014/main" id="{BD0FF4BF-30F5-4189-AC59-2A9DD1237288}"/>
              </a:ext>
            </a:extLst>
          </p:cNvPr>
          <p:cNvSpPr>
            <a:spLocks noGrp="1"/>
          </p:cNvSpPr>
          <p:nvPr>
            <p:ph type="body" sz="quarter" idx="30"/>
          </p:nvPr>
        </p:nvSpPr>
        <p:spPr>
          <a:xfrm>
            <a:off x="11666564" y="7167563"/>
            <a:ext cx="5210378" cy="5308600"/>
          </a:xfrm>
        </p:spPr>
        <p:txBody>
          <a:bodyPr>
            <a:normAutofit/>
          </a:bodyPr>
          <a:lstStyle>
            <a:lvl1pPr>
              <a:defRPr sz="2000"/>
            </a:lvl1pPr>
            <a:lvl2pPr>
              <a:defRPr sz="2000"/>
            </a:lvl2pPr>
            <a:lvl3pPr>
              <a:defRPr sz="2000"/>
            </a:lvl3pPr>
            <a:lvl4pPr>
              <a:defRPr sz="2000"/>
            </a:lvl4pPr>
            <a:lvl5pPr>
              <a:defRPr sz="2000"/>
            </a:lvl5pPr>
          </a:lstStyle>
          <a:p>
            <a:pPr lvl="0"/>
            <a:r>
              <a:rPr lang="nl-NL"/>
              <a:t>Klikken om de tekststijl van het model te bewerken</a:t>
            </a:r>
          </a:p>
        </p:txBody>
      </p:sp>
      <p:sp>
        <p:nvSpPr>
          <p:cNvPr id="22" name="Tijdelijke aanduiding voor tekst 20">
            <a:extLst>
              <a:ext uri="{FF2B5EF4-FFF2-40B4-BE49-F238E27FC236}">
                <a16:creationId xmlns:a16="http://schemas.microsoft.com/office/drawing/2014/main" id="{25A939FC-1618-4F54-8957-AB4D7CD1B014}"/>
              </a:ext>
            </a:extLst>
          </p:cNvPr>
          <p:cNvSpPr>
            <a:spLocks noGrp="1"/>
          </p:cNvSpPr>
          <p:nvPr>
            <p:ph type="body" sz="quarter" idx="31"/>
          </p:nvPr>
        </p:nvSpPr>
        <p:spPr>
          <a:xfrm>
            <a:off x="5503832" y="7167563"/>
            <a:ext cx="5210378" cy="5308600"/>
          </a:xfrm>
        </p:spPr>
        <p:txBody>
          <a:bodyPr>
            <a:normAutofit/>
          </a:bodyPr>
          <a:lstStyle>
            <a:lvl1pPr>
              <a:defRPr sz="2000"/>
            </a:lvl1pPr>
            <a:lvl2pPr>
              <a:defRPr sz="2000"/>
            </a:lvl2pPr>
            <a:lvl3pPr>
              <a:defRPr sz="2000"/>
            </a:lvl3pPr>
            <a:lvl4pPr>
              <a:defRPr sz="2000"/>
            </a:lvl4pPr>
            <a:lvl5pPr>
              <a:defRPr sz="2000"/>
            </a:lvl5pPr>
          </a:lstStyle>
          <a:p>
            <a:pPr lvl="0"/>
            <a:r>
              <a:rPr lang="nl-NL"/>
              <a:t>Klikken om de tekststijl van het model te bewerken</a:t>
            </a:r>
          </a:p>
        </p:txBody>
      </p:sp>
      <p:sp>
        <p:nvSpPr>
          <p:cNvPr id="23" name="Tijdelijke aanduiding voor tekst 20">
            <a:extLst>
              <a:ext uri="{FF2B5EF4-FFF2-40B4-BE49-F238E27FC236}">
                <a16:creationId xmlns:a16="http://schemas.microsoft.com/office/drawing/2014/main" id="{2AF4F2F1-04D4-4ED2-A8BD-A82E20E4C1AE}"/>
              </a:ext>
            </a:extLst>
          </p:cNvPr>
          <p:cNvSpPr>
            <a:spLocks noGrp="1"/>
          </p:cNvSpPr>
          <p:nvPr>
            <p:ph type="body" sz="quarter" idx="32"/>
          </p:nvPr>
        </p:nvSpPr>
        <p:spPr>
          <a:xfrm>
            <a:off x="17841995" y="7167563"/>
            <a:ext cx="5210378" cy="5308600"/>
          </a:xfrm>
        </p:spPr>
        <p:txBody>
          <a:bodyPr>
            <a:normAutofit/>
          </a:bodyPr>
          <a:lstStyle>
            <a:lvl1pPr>
              <a:defRPr sz="2000"/>
            </a:lvl1pPr>
            <a:lvl2pPr>
              <a:defRPr sz="2000"/>
            </a:lvl2pPr>
            <a:lvl3pPr>
              <a:defRPr sz="2000"/>
            </a:lvl3pPr>
            <a:lvl4pPr>
              <a:defRPr sz="2000"/>
            </a:lvl4pPr>
            <a:lvl5pPr>
              <a:defRPr sz="2000"/>
            </a:lvl5pPr>
          </a:lstStyle>
          <a:p>
            <a:pPr lvl="0"/>
            <a:r>
              <a:rPr lang="nl-NL"/>
              <a:t>Klikken om de tekststijl van het model te bewerken</a:t>
            </a:r>
          </a:p>
        </p:txBody>
      </p:sp>
      <p:sp>
        <p:nvSpPr>
          <p:cNvPr id="16" name="Tijdelijke aanduiding voor datum 4">
            <a:extLst>
              <a:ext uri="{FF2B5EF4-FFF2-40B4-BE49-F238E27FC236}">
                <a16:creationId xmlns:a16="http://schemas.microsoft.com/office/drawing/2014/main" id="{CD12FB75-B47C-4AF8-966C-DE326A58C760}"/>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20" name="Tijdelijke aanduiding voor voettekst 4">
            <a:extLst>
              <a:ext uri="{FF2B5EF4-FFF2-40B4-BE49-F238E27FC236}">
                <a16:creationId xmlns:a16="http://schemas.microsoft.com/office/drawing/2014/main" id="{784E6AE7-5463-42D6-AA8D-4FE05FE03E1D}"/>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Tree>
    <p:extLst>
      <p:ext uri="{BB962C8B-B14F-4D97-AF65-F5344CB8AC3E}">
        <p14:creationId xmlns:p14="http://schemas.microsoft.com/office/powerpoint/2010/main" val="516197792"/>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el lichtgroen">
    <p:bg>
      <p:bgPr>
        <a:solidFill>
          <a:schemeClr val="accent3"/>
        </a:solidFill>
        <a:effectLst/>
      </p:bgPr>
    </p:bg>
    <p:spTree>
      <p:nvGrpSpPr>
        <p:cNvPr id="1" name=""/>
        <p:cNvGrpSpPr/>
        <p:nvPr/>
      </p:nvGrpSpPr>
      <p:grpSpPr>
        <a:xfrm>
          <a:off x="0" y="0"/>
          <a:ext cx="0" cy="0"/>
          <a:chOff x="0" y="0"/>
          <a:chExt cx="0" cy="0"/>
        </a:xfrm>
      </p:grpSpPr>
      <p:sp>
        <p:nvSpPr>
          <p:cNvPr id="11" name="Auteur en datum"/>
          <p:cNvSpPr txBox="1">
            <a:spLocks noGrp="1"/>
          </p:cNvSpPr>
          <p:nvPr>
            <p:ph type="body" sz="quarter" idx="21" hasCustomPrompt="1"/>
          </p:nvPr>
        </p:nvSpPr>
        <p:spPr>
          <a:xfrm>
            <a:off x="2459736" y="10633820"/>
            <a:ext cx="19732753" cy="713231"/>
          </a:xfrm>
          <a:prstGeom prst="rect">
            <a:avLst/>
          </a:prstGeom>
        </p:spPr>
        <p:txBody>
          <a:bodyPr lIns="216000" tIns="45719" rIns="45719" bIns="45719" anchor="b">
            <a:noAutofit/>
          </a:bodyPr>
          <a:lstStyle>
            <a:lvl1pPr marL="0" indent="0" defTabSz="825500">
              <a:lnSpc>
                <a:spcPct val="100000"/>
              </a:lnSpc>
              <a:spcBef>
                <a:spcPts val="0"/>
              </a:spcBef>
              <a:buSzTx/>
              <a:buNone/>
              <a:defRPr sz="4000" b="0">
                <a:latin typeface="+mn-lt"/>
              </a:defRPr>
            </a:lvl1pPr>
          </a:lstStyle>
          <a:p>
            <a:r>
              <a:rPr lang="nl-NL"/>
              <a:t>Auteurs</a:t>
            </a:r>
            <a:endParaRPr/>
          </a:p>
        </p:txBody>
      </p:sp>
      <p:sp>
        <p:nvSpPr>
          <p:cNvPr id="12" name="Naam presentatie"/>
          <p:cNvSpPr txBox="1">
            <a:spLocks noGrp="1"/>
          </p:cNvSpPr>
          <p:nvPr>
            <p:ph type="title" hasCustomPrompt="1"/>
          </p:nvPr>
        </p:nvSpPr>
        <p:spPr>
          <a:xfrm>
            <a:off x="2505456" y="6629400"/>
            <a:ext cx="19732753" cy="1517905"/>
          </a:xfrm>
          <a:prstGeom prst="rect">
            <a:avLst/>
          </a:prstGeom>
        </p:spPr>
        <p:txBody>
          <a:bodyPr lIns="144000" anchor="t">
            <a:noAutofit/>
          </a:bodyPr>
          <a:lstStyle>
            <a:lvl1pPr>
              <a:defRPr sz="12000" b="0" spc="0" baseline="0">
                <a:latin typeface="+mj-lt"/>
              </a:defRPr>
            </a:lvl1pPr>
          </a:lstStyle>
          <a:p>
            <a:r>
              <a:rPr lang="nl-NL"/>
              <a:t>Titel</a:t>
            </a:r>
            <a:endParaRPr/>
          </a:p>
        </p:txBody>
      </p:sp>
      <p:sp>
        <p:nvSpPr>
          <p:cNvPr id="13" name="Hoofdtekst - niveau één…"/>
          <p:cNvSpPr txBox="1">
            <a:spLocks noGrp="1"/>
          </p:cNvSpPr>
          <p:nvPr>
            <p:ph type="body" sz="quarter" idx="1" hasCustomPrompt="1"/>
          </p:nvPr>
        </p:nvSpPr>
        <p:spPr>
          <a:xfrm>
            <a:off x="2496312" y="2569464"/>
            <a:ext cx="19741897" cy="4059936"/>
          </a:xfrm>
          <a:prstGeom prst="rect">
            <a:avLst/>
          </a:prstGeom>
        </p:spPr>
        <p:txBody>
          <a:bodyPr lIns="108000" bIns="0" anchor="b">
            <a:noAutofit/>
          </a:bodyPr>
          <a:lstStyle>
            <a:lvl1pPr marL="0" indent="0" defTabSz="825500">
              <a:lnSpc>
                <a:spcPct val="100000"/>
              </a:lnSpc>
              <a:spcBef>
                <a:spcPts val="0"/>
              </a:spcBef>
              <a:buSzTx/>
              <a:buNone/>
              <a:defRPr sz="12200" b="0" spc="110" baseline="0"/>
            </a:lvl1pPr>
            <a:lvl2pPr marL="0" indent="0" defTabSz="825500">
              <a:lnSpc>
                <a:spcPct val="100000"/>
              </a:lnSpc>
              <a:spcBef>
                <a:spcPts val="0"/>
              </a:spcBef>
              <a:buSzTx/>
              <a:buNone/>
              <a:defRPr sz="5500" b="1"/>
            </a:lvl2pPr>
            <a:lvl3pPr marL="0" indent="0" defTabSz="825500">
              <a:lnSpc>
                <a:spcPct val="100000"/>
              </a:lnSpc>
              <a:spcBef>
                <a:spcPts val="0"/>
              </a:spcBef>
              <a:buSzTx/>
              <a:buNone/>
              <a:defRPr sz="5500" b="1"/>
            </a:lvl3pPr>
            <a:lvl4pPr marL="0" indent="0" defTabSz="825500">
              <a:lnSpc>
                <a:spcPct val="100000"/>
              </a:lnSpc>
              <a:spcBef>
                <a:spcPts val="0"/>
              </a:spcBef>
              <a:buSzTx/>
              <a:buNone/>
              <a:defRPr sz="5500" b="1"/>
            </a:lvl4pPr>
            <a:lvl5pPr marL="0" indent="0" defTabSz="825500">
              <a:lnSpc>
                <a:spcPct val="100000"/>
              </a:lnSpc>
              <a:spcBef>
                <a:spcPts val="0"/>
              </a:spcBef>
              <a:buSzTx/>
              <a:buNone/>
              <a:defRPr sz="5500" b="1"/>
            </a:lvl5pPr>
          </a:lstStyle>
          <a:p>
            <a:r>
              <a:rPr lang="nl-NL"/>
              <a:t>Subtitel</a:t>
            </a:r>
          </a:p>
        </p:txBody>
      </p:sp>
      <p:sp>
        <p:nvSpPr>
          <p:cNvPr id="9" name="Tijdelijke aanduiding voor datum 4">
            <a:extLst>
              <a:ext uri="{FF2B5EF4-FFF2-40B4-BE49-F238E27FC236}">
                <a16:creationId xmlns:a16="http://schemas.microsoft.com/office/drawing/2014/main" id="{1AB02A12-0190-465E-B00A-B91F85BC46FC}"/>
              </a:ext>
            </a:extLst>
          </p:cNvPr>
          <p:cNvSpPr>
            <a:spLocks noGrp="1"/>
          </p:cNvSpPr>
          <p:nvPr>
            <p:ph type="dt" sz="half" idx="22"/>
          </p:nvPr>
        </p:nvSpPr>
        <p:spPr>
          <a:xfrm>
            <a:off x="2459736" y="11367879"/>
            <a:ext cx="19732752" cy="730250"/>
          </a:xfrm>
          <a:prstGeom prst="rect">
            <a:avLst/>
          </a:prstGeom>
        </p:spPr>
        <p:txBody>
          <a:bodyPr vert="horz" lIns="180000" tIns="45720" rIns="91440" bIns="45720" rtlCol="0" anchor="ctr"/>
          <a:lstStyle>
            <a:lvl1pPr algn="l">
              <a:defRPr sz="3200">
                <a:solidFill>
                  <a:schemeClr val="tx1"/>
                </a:solidFill>
              </a:defRPr>
            </a:lvl1pPr>
          </a:lstStyle>
          <a:p>
            <a:fld id="{B150532B-FCF9-426A-ADF2-F182BD70000C}" type="datetime4">
              <a:rPr lang="nl-NL" smtClean="0"/>
              <a:t>13 juni 2023</a:t>
            </a:fld>
            <a:endParaRPr lang="nl-NL"/>
          </a:p>
        </p:txBody>
      </p:sp>
      <p:sp>
        <p:nvSpPr>
          <p:cNvPr id="10" name="Dianummer">
            <a:extLst>
              <a:ext uri="{FF2B5EF4-FFF2-40B4-BE49-F238E27FC236}">
                <a16:creationId xmlns:a16="http://schemas.microsoft.com/office/drawing/2014/main" id="{869DACE5-1BFD-404D-92ED-AAFC9B1C2565}"/>
              </a:ext>
            </a:extLst>
          </p:cNvPr>
          <p:cNvSpPr txBox="1">
            <a:spLocks noGrp="1"/>
          </p:cNvSpPr>
          <p:nvPr>
            <p:ph type="sldNum" sz="quarter" idx="2"/>
          </p:nvPr>
        </p:nvSpPr>
        <p:spPr>
          <a:xfrm>
            <a:off x="23177500" y="13749162"/>
            <a:ext cx="811276" cy="441146"/>
          </a:xfrm>
          <a:prstGeom prst="rect">
            <a:avLst/>
          </a:prstGeom>
          <a:ln w="12700">
            <a:miter lim="400000"/>
          </a:ln>
        </p:spPr>
        <p:txBody>
          <a:bodyPr wrap="square" lIns="50800" tIns="50800" rIns="50800" bIns="50800" anchor="b">
            <a:spAutoFit/>
          </a:bodyPr>
          <a:lstStyle>
            <a:lvl1pPr algn="r" defTabSz="584200">
              <a:lnSpc>
                <a:spcPct val="100000"/>
              </a:lnSpc>
              <a:spcBef>
                <a:spcPts val="0"/>
              </a:spcBef>
              <a:defRPr sz="2200">
                <a:solidFill>
                  <a:schemeClr val="tx1"/>
                </a:solidFill>
                <a:latin typeface="+mn-lt"/>
                <a:ea typeface="Source Sans Pro" panose="020B0503030403020204" pitchFamily="34" charset="0"/>
              </a:defRPr>
            </a:lvl1pPr>
          </a:lstStyle>
          <a:p>
            <a:fld id="{86CB4B4D-7CA3-9044-876B-883B54F8677D}" type="slidenum">
              <a:rPr lang="nl-NL" smtClean="0"/>
              <a:pPr/>
              <a:t>‹nr.›</a:t>
            </a:fld>
            <a:endParaRPr lang="nl-NL"/>
          </a:p>
        </p:txBody>
      </p:sp>
      <p:pic>
        <p:nvPicPr>
          <p:cNvPr id="14" name="Graphic 13">
            <a:extLst>
              <a:ext uri="{FF2B5EF4-FFF2-40B4-BE49-F238E27FC236}">
                <a16:creationId xmlns:a16="http://schemas.microsoft.com/office/drawing/2014/main" id="{7C9BDE5E-80A3-4C58-8E43-C644B520423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7010" y="413369"/>
            <a:ext cx="2165251" cy="2165251"/>
          </a:xfrm>
          <a:prstGeom prst="rect">
            <a:avLst/>
          </a:prstGeom>
        </p:spPr>
      </p:pic>
    </p:spTree>
    <p:extLst>
      <p:ext uri="{BB962C8B-B14F-4D97-AF65-F5344CB8AC3E}">
        <p14:creationId xmlns:p14="http://schemas.microsoft.com/office/powerpoint/2010/main" val="3066595153"/>
      </p:ext>
    </p:extLst>
  </p:cSld>
  <p:clrMapOvr>
    <a:masterClrMapping/>
  </p:clrMapOvr>
  <p:transition spd="med"/>
  <p:hf sldNum="0" hdr="0" ftr="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16 pax">
    <p:spTree>
      <p:nvGrpSpPr>
        <p:cNvPr id="1" name=""/>
        <p:cNvGrpSpPr/>
        <p:nvPr/>
      </p:nvGrpSpPr>
      <p:grpSpPr>
        <a:xfrm>
          <a:off x="0" y="0"/>
          <a:ext cx="0" cy="0"/>
          <a:chOff x="0" y="0"/>
          <a:chExt cx="0" cy="0"/>
        </a:xfrm>
      </p:grpSpPr>
      <p:sp>
        <p:nvSpPr>
          <p:cNvPr id="48" name="Tijdelijke aanduiding voor afbeelding 4">
            <a:extLst>
              <a:ext uri="{FF2B5EF4-FFF2-40B4-BE49-F238E27FC236}">
                <a16:creationId xmlns:a16="http://schemas.microsoft.com/office/drawing/2014/main" id="{56308023-5269-413B-9974-035A8CF90D23}"/>
              </a:ext>
            </a:extLst>
          </p:cNvPr>
          <p:cNvSpPr>
            <a:spLocks noGrp="1"/>
          </p:cNvSpPr>
          <p:nvPr>
            <p:ph type="pic" sz="quarter" idx="62" hasCustomPrompt="1"/>
          </p:nvPr>
        </p:nvSpPr>
        <p:spPr>
          <a:xfrm>
            <a:off x="1020550" y="5487979"/>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49" name="Tijdelijke aanduiding voor afbeelding 4">
            <a:extLst>
              <a:ext uri="{FF2B5EF4-FFF2-40B4-BE49-F238E27FC236}">
                <a16:creationId xmlns:a16="http://schemas.microsoft.com/office/drawing/2014/main" id="{6D0860F5-A654-4D9F-A3C2-5B9E0FD79ACD}"/>
              </a:ext>
            </a:extLst>
          </p:cNvPr>
          <p:cNvSpPr>
            <a:spLocks noGrp="1"/>
          </p:cNvSpPr>
          <p:nvPr>
            <p:ph type="pic" sz="quarter" idx="63" hasCustomPrompt="1"/>
          </p:nvPr>
        </p:nvSpPr>
        <p:spPr>
          <a:xfrm>
            <a:off x="4793308" y="5487979"/>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50" name="Tijdelijke aanduiding voor afbeelding 4">
            <a:extLst>
              <a:ext uri="{FF2B5EF4-FFF2-40B4-BE49-F238E27FC236}">
                <a16:creationId xmlns:a16="http://schemas.microsoft.com/office/drawing/2014/main" id="{DAD629BB-9687-4F65-9A23-D5B75ACEB65C}"/>
              </a:ext>
            </a:extLst>
          </p:cNvPr>
          <p:cNvSpPr>
            <a:spLocks noGrp="1"/>
          </p:cNvSpPr>
          <p:nvPr>
            <p:ph type="pic" sz="quarter" idx="64" hasCustomPrompt="1"/>
          </p:nvPr>
        </p:nvSpPr>
        <p:spPr>
          <a:xfrm>
            <a:off x="8566066" y="5487979"/>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53" name="Tijdelijke aanduiding voor afbeelding 4">
            <a:extLst>
              <a:ext uri="{FF2B5EF4-FFF2-40B4-BE49-F238E27FC236}">
                <a16:creationId xmlns:a16="http://schemas.microsoft.com/office/drawing/2014/main" id="{43B0E027-E92F-4FCF-B6AE-462481AD4659}"/>
              </a:ext>
            </a:extLst>
          </p:cNvPr>
          <p:cNvSpPr>
            <a:spLocks noGrp="1"/>
          </p:cNvSpPr>
          <p:nvPr>
            <p:ph type="pic" sz="quarter" idx="65" hasCustomPrompt="1"/>
          </p:nvPr>
        </p:nvSpPr>
        <p:spPr>
          <a:xfrm>
            <a:off x="12338824" y="5487979"/>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85" name="Tijdelijke aanduiding voor afbeelding 4">
            <a:extLst>
              <a:ext uri="{FF2B5EF4-FFF2-40B4-BE49-F238E27FC236}">
                <a16:creationId xmlns:a16="http://schemas.microsoft.com/office/drawing/2014/main" id="{F9627921-2306-4F02-8B30-C15F85E831C6}"/>
              </a:ext>
            </a:extLst>
          </p:cNvPr>
          <p:cNvSpPr>
            <a:spLocks noGrp="1"/>
          </p:cNvSpPr>
          <p:nvPr>
            <p:ph type="pic" sz="quarter" idx="66" hasCustomPrompt="1"/>
          </p:nvPr>
        </p:nvSpPr>
        <p:spPr>
          <a:xfrm>
            <a:off x="890595" y="9458827"/>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86" name="Tijdelijke aanduiding voor afbeelding 4">
            <a:extLst>
              <a:ext uri="{FF2B5EF4-FFF2-40B4-BE49-F238E27FC236}">
                <a16:creationId xmlns:a16="http://schemas.microsoft.com/office/drawing/2014/main" id="{BE7212F7-FFE0-4043-8547-32B110ADBC99}"/>
              </a:ext>
            </a:extLst>
          </p:cNvPr>
          <p:cNvSpPr>
            <a:spLocks noGrp="1"/>
          </p:cNvSpPr>
          <p:nvPr>
            <p:ph type="pic" sz="quarter" idx="67" hasCustomPrompt="1"/>
          </p:nvPr>
        </p:nvSpPr>
        <p:spPr>
          <a:xfrm>
            <a:off x="4663353" y="9458827"/>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87" name="Tijdelijke aanduiding voor afbeelding 4">
            <a:extLst>
              <a:ext uri="{FF2B5EF4-FFF2-40B4-BE49-F238E27FC236}">
                <a16:creationId xmlns:a16="http://schemas.microsoft.com/office/drawing/2014/main" id="{E220AFA2-ED47-4466-86BC-6F8C2AEA0308}"/>
              </a:ext>
            </a:extLst>
          </p:cNvPr>
          <p:cNvSpPr>
            <a:spLocks noGrp="1"/>
          </p:cNvSpPr>
          <p:nvPr>
            <p:ph type="pic" sz="quarter" idx="68" hasCustomPrompt="1"/>
          </p:nvPr>
        </p:nvSpPr>
        <p:spPr>
          <a:xfrm>
            <a:off x="8436111" y="9458827"/>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88" name="Tijdelijke aanduiding voor afbeelding 4">
            <a:extLst>
              <a:ext uri="{FF2B5EF4-FFF2-40B4-BE49-F238E27FC236}">
                <a16:creationId xmlns:a16="http://schemas.microsoft.com/office/drawing/2014/main" id="{2F69247B-3DC3-484B-AC12-27F304AD12EA}"/>
              </a:ext>
            </a:extLst>
          </p:cNvPr>
          <p:cNvSpPr>
            <a:spLocks noGrp="1"/>
          </p:cNvSpPr>
          <p:nvPr>
            <p:ph type="pic" sz="quarter" idx="69" hasCustomPrompt="1"/>
          </p:nvPr>
        </p:nvSpPr>
        <p:spPr>
          <a:xfrm>
            <a:off x="12208869" y="9458827"/>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89" name="Tijdelijke aanduiding voor afbeelding 4">
            <a:extLst>
              <a:ext uri="{FF2B5EF4-FFF2-40B4-BE49-F238E27FC236}">
                <a16:creationId xmlns:a16="http://schemas.microsoft.com/office/drawing/2014/main" id="{F4C9B101-2726-418F-9714-28CD43C16BF1}"/>
              </a:ext>
            </a:extLst>
          </p:cNvPr>
          <p:cNvSpPr>
            <a:spLocks noGrp="1"/>
          </p:cNvSpPr>
          <p:nvPr>
            <p:ph type="pic" sz="quarter" idx="70" hasCustomPrompt="1"/>
          </p:nvPr>
        </p:nvSpPr>
        <p:spPr>
          <a:xfrm>
            <a:off x="16111582" y="5487979"/>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90" name="Tijdelijke aanduiding voor afbeelding 4">
            <a:extLst>
              <a:ext uri="{FF2B5EF4-FFF2-40B4-BE49-F238E27FC236}">
                <a16:creationId xmlns:a16="http://schemas.microsoft.com/office/drawing/2014/main" id="{CCEE2110-2AAA-44A3-B74E-BAB490839E09}"/>
              </a:ext>
            </a:extLst>
          </p:cNvPr>
          <p:cNvSpPr>
            <a:spLocks noGrp="1"/>
          </p:cNvSpPr>
          <p:nvPr>
            <p:ph type="pic" sz="quarter" idx="71" hasCustomPrompt="1"/>
          </p:nvPr>
        </p:nvSpPr>
        <p:spPr>
          <a:xfrm>
            <a:off x="19884341" y="5487979"/>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91" name="Tijdelijke aanduiding voor afbeelding 4">
            <a:extLst>
              <a:ext uri="{FF2B5EF4-FFF2-40B4-BE49-F238E27FC236}">
                <a16:creationId xmlns:a16="http://schemas.microsoft.com/office/drawing/2014/main" id="{4009A7A3-D236-4FA5-8ED6-060072213F26}"/>
              </a:ext>
            </a:extLst>
          </p:cNvPr>
          <p:cNvSpPr>
            <a:spLocks noGrp="1"/>
          </p:cNvSpPr>
          <p:nvPr>
            <p:ph type="pic" sz="quarter" idx="72" hasCustomPrompt="1"/>
          </p:nvPr>
        </p:nvSpPr>
        <p:spPr>
          <a:xfrm>
            <a:off x="15981627" y="9458827"/>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92" name="Tijdelijke aanduiding voor afbeelding 4">
            <a:extLst>
              <a:ext uri="{FF2B5EF4-FFF2-40B4-BE49-F238E27FC236}">
                <a16:creationId xmlns:a16="http://schemas.microsoft.com/office/drawing/2014/main" id="{6070B636-85E8-459E-B32E-0299FB488C01}"/>
              </a:ext>
            </a:extLst>
          </p:cNvPr>
          <p:cNvSpPr>
            <a:spLocks noGrp="1"/>
          </p:cNvSpPr>
          <p:nvPr>
            <p:ph type="pic" sz="quarter" idx="73" hasCustomPrompt="1"/>
          </p:nvPr>
        </p:nvSpPr>
        <p:spPr>
          <a:xfrm>
            <a:off x="19754386" y="9458827"/>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44" name="Tijdelijke aanduiding voor afbeelding 4">
            <a:extLst>
              <a:ext uri="{FF2B5EF4-FFF2-40B4-BE49-F238E27FC236}">
                <a16:creationId xmlns:a16="http://schemas.microsoft.com/office/drawing/2014/main" id="{3A208742-123A-4463-A4E4-F69DA7874E04}"/>
              </a:ext>
            </a:extLst>
          </p:cNvPr>
          <p:cNvSpPr>
            <a:spLocks noGrp="1"/>
          </p:cNvSpPr>
          <p:nvPr>
            <p:ph type="pic" sz="quarter" idx="24" hasCustomPrompt="1"/>
          </p:nvPr>
        </p:nvSpPr>
        <p:spPr>
          <a:xfrm>
            <a:off x="8563690" y="1614397"/>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45" name="Tijdelijke aanduiding voor afbeelding 4">
            <a:extLst>
              <a:ext uri="{FF2B5EF4-FFF2-40B4-BE49-F238E27FC236}">
                <a16:creationId xmlns:a16="http://schemas.microsoft.com/office/drawing/2014/main" id="{CC9E9F84-0C2F-4AEF-AF64-4C9A2815C029}"/>
              </a:ext>
            </a:extLst>
          </p:cNvPr>
          <p:cNvSpPr>
            <a:spLocks noGrp="1"/>
          </p:cNvSpPr>
          <p:nvPr>
            <p:ph type="pic" sz="quarter" idx="59" hasCustomPrompt="1"/>
          </p:nvPr>
        </p:nvSpPr>
        <p:spPr>
          <a:xfrm>
            <a:off x="12318557" y="1614397"/>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46" name="Tijdelijke aanduiding voor afbeelding 4">
            <a:extLst>
              <a:ext uri="{FF2B5EF4-FFF2-40B4-BE49-F238E27FC236}">
                <a16:creationId xmlns:a16="http://schemas.microsoft.com/office/drawing/2014/main" id="{A97DAC88-8539-4311-A77F-3BCFE9C6D16F}"/>
              </a:ext>
            </a:extLst>
          </p:cNvPr>
          <p:cNvSpPr>
            <a:spLocks noGrp="1"/>
          </p:cNvSpPr>
          <p:nvPr>
            <p:ph type="pic" sz="quarter" idx="60" hasCustomPrompt="1"/>
          </p:nvPr>
        </p:nvSpPr>
        <p:spPr>
          <a:xfrm>
            <a:off x="16073424" y="1614397"/>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47" name="Tijdelijke aanduiding voor afbeelding 4">
            <a:extLst>
              <a:ext uri="{FF2B5EF4-FFF2-40B4-BE49-F238E27FC236}">
                <a16:creationId xmlns:a16="http://schemas.microsoft.com/office/drawing/2014/main" id="{D5652E8A-84C2-4D8F-A602-CA1D0CCA626F}"/>
              </a:ext>
            </a:extLst>
          </p:cNvPr>
          <p:cNvSpPr>
            <a:spLocks noGrp="1"/>
          </p:cNvSpPr>
          <p:nvPr>
            <p:ph type="pic" sz="quarter" idx="61" hasCustomPrompt="1"/>
          </p:nvPr>
        </p:nvSpPr>
        <p:spPr>
          <a:xfrm>
            <a:off x="19828291" y="1614397"/>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142" name="Dianummer"/>
          <p:cNvSpPr txBox="1">
            <a:spLocks noGrp="1"/>
          </p:cNvSpPr>
          <p:nvPr>
            <p:ph type="sldNum" sz="quarter" idx="2"/>
          </p:nvPr>
        </p:nvSpPr>
        <p:spPr>
          <a:prstGeom prst="rect">
            <a:avLst/>
          </a:prstGeom>
        </p:spPr>
        <p:txBody>
          <a:bodyPr/>
          <a:lstStyle>
            <a:lvl1pPr>
              <a:defRPr>
                <a:latin typeface="+mn-lt"/>
              </a:defRPr>
            </a:lvl1pPr>
          </a:lstStyle>
          <a:p>
            <a:fld id="{86CB4B4D-7CA3-9044-876B-883B54F8677D}" type="slidenum">
              <a:rPr lang="nl-NL" smtClean="0"/>
              <a:pPr/>
              <a:t>‹nr.›</a:t>
            </a:fld>
            <a:endParaRPr lang="nl-NL"/>
          </a:p>
        </p:txBody>
      </p:sp>
      <p:pic>
        <p:nvPicPr>
          <p:cNvPr id="23" name="Afbeelding" descr="Afbeelding">
            <a:extLst>
              <a:ext uri="{FF2B5EF4-FFF2-40B4-BE49-F238E27FC236}">
                <a16:creationId xmlns:a16="http://schemas.microsoft.com/office/drawing/2014/main" id="{B86A8481-6149-4A9C-8950-388027A0B347}"/>
              </a:ext>
            </a:extLst>
          </p:cNvPr>
          <p:cNvPicPr>
            <a:picLocks noChangeAspect="1"/>
          </p:cNvPicPr>
          <p:nvPr userDrawn="1"/>
        </p:nvPicPr>
        <p:blipFill>
          <a:blip r:embed="rId2"/>
          <a:stretch>
            <a:fillRect/>
          </a:stretch>
        </p:blipFill>
        <p:spPr>
          <a:xfrm>
            <a:off x="12472132" y="3441997"/>
            <a:ext cx="1593816" cy="1593816"/>
          </a:xfrm>
          <a:prstGeom prst="rect">
            <a:avLst/>
          </a:prstGeom>
          <a:ln w="12700">
            <a:miter lim="400000"/>
          </a:ln>
        </p:spPr>
      </p:pic>
      <p:sp>
        <p:nvSpPr>
          <p:cNvPr id="32" name="Charlotte  Derksen">
            <a:extLst>
              <a:ext uri="{FF2B5EF4-FFF2-40B4-BE49-F238E27FC236}">
                <a16:creationId xmlns:a16="http://schemas.microsoft.com/office/drawing/2014/main" id="{057C84DC-BFE2-4E74-BB67-6ECED75771B7}"/>
              </a:ext>
            </a:extLst>
          </p:cNvPr>
          <p:cNvSpPr txBox="1"/>
          <p:nvPr userDrawn="1"/>
        </p:nvSpPr>
        <p:spPr>
          <a:xfrm>
            <a:off x="17910450" y="4325305"/>
            <a:ext cx="1114586" cy="8470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p>
            <a:pPr>
              <a:lnSpc>
                <a:spcPct val="80000"/>
              </a:lnSpc>
              <a:spcBef>
                <a:spcPts val="0"/>
              </a:spcBef>
              <a:defRPr sz="2000" spc="-39">
                <a:solidFill>
                  <a:srgbClr val="FFFFFF"/>
                </a:solidFill>
                <a:latin typeface="Helvetica"/>
                <a:ea typeface="Helvetica"/>
                <a:cs typeface="Helvetica"/>
                <a:sym typeface="Helvetica"/>
              </a:defRPr>
            </a:pPr>
            <a:r>
              <a:rPr>
                <a:latin typeface="+mn-lt"/>
              </a:rPr>
              <a:t>Charlotte </a:t>
            </a:r>
            <a:br>
              <a:rPr>
                <a:latin typeface="+mn-lt"/>
              </a:rPr>
            </a:br>
            <a:r>
              <a:rPr>
                <a:latin typeface="+mn-lt"/>
              </a:rPr>
              <a:t>Derksen</a:t>
            </a:r>
          </a:p>
        </p:txBody>
      </p:sp>
      <p:sp>
        <p:nvSpPr>
          <p:cNvPr id="33" name="Marcel  Heskes">
            <a:extLst>
              <a:ext uri="{FF2B5EF4-FFF2-40B4-BE49-F238E27FC236}">
                <a16:creationId xmlns:a16="http://schemas.microsoft.com/office/drawing/2014/main" id="{1C8D4FB7-92FF-4521-9CB4-1064DC0464CE}"/>
              </a:ext>
            </a:extLst>
          </p:cNvPr>
          <p:cNvSpPr txBox="1"/>
          <p:nvPr userDrawn="1"/>
        </p:nvSpPr>
        <p:spPr>
          <a:xfrm>
            <a:off x="12550600" y="4325305"/>
            <a:ext cx="924005" cy="84702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lstStyle/>
          <a:p>
            <a:pPr>
              <a:lnSpc>
                <a:spcPct val="80000"/>
              </a:lnSpc>
              <a:spcBef>
                <a:spcPts val="0"/>
              </a:spcBef>
              <a:defRPr sz="2000" spc="-39">
                <a:latin typeface="Helvetica"/>
                <a:ea typeface="Helvetica"/>
                <a:cs typeface="Helvetica"/>
                <a:sym typeface="Helvetica"/>
              </a:defRPr>
            </a:pPr>
            <a:r>
              <a:rPr>
                <a:latin typeface="+mn-lt"/>
              </a:rPr>
              <a:t>Marcel </a:t>
            </a:r>
            <a:br>
              <a:rPr>
                <a:latin typeface="+mn-lt"/>
              </a:rPr>
            </a:br>
            <a:r>
              <a:rPr>
                <a:latin typeface="+mn-lt"/>
              </a:rPr>
              <a:t>Heskes</a:t>
            </a:r>
          </a:p>
        </p:txBody>
      </p:sp>
      <p:sp>
        <p:nvSpPr>
          <p:cNvPr id="51" name="Titel 1">
            <a:extLst>
              <a:ext uri="{FF2B5EF4-FFF2-40B4-BE49-F238E27FC236}">
                <a16:creationId xmlns:a16="http://schemas.microsoft.com/office/drawing/2014/main" id="{66F276E5-9E16-45E0-B619-838BCEED8665}"/>
              </a:ext>
            </a:extLst>
          </p:cNvPr>
          <p:cNvSpPr>
            <a:spLocks noGrp="1"/>
          </p:cNvSpPr>
          <p:nvPr>
            <p:ph type="title" hasCustomPrompt="1"/>
          </p:nvPr>
        </p:nvSpPr>
        <p:spPr>
          <a:xfrm>
            <a:off x="1712658" y="2516047"/>
            <a:ext cx="5940870" cy="1524272"/>
          </a:xfrm>
        </p:spPr>
        <p:txBody>
          <a:bodyPr/>
          <a:lstStyle>
            <a:lvl1pPr>
              <a:defRPr/>
            </a:lvl1pPr>
          </a:lstStyle>
          <a:p>
            <a:r>
              <a:rPr lang="nl-NL"/>
              <a:t>Ons Team</a:t>
            </a:r>
          </a:p>
        </p:txBody>
      </p:sp>
      <p:sp>
        <p:nvSpPr>
          <p:cNvPr id="54" name="Tijdelijke aanduiding voor tekst 16">
            <a:extLst>
              <a:ext uri="{FF2B5EF4-FFF2-40B4-BE49-F238E27FC236}">
                <a16:creationId xmlns:a16="http://schemas.microsoft.com/office/drawing/2014/main" id="{50AAAAA8-CA72-4907-8768-815713F491CA}"/>
              </a:ext>
            </a:extLst>
          </p:cNvPr>
          <p:cNvSpPr>
            <a:spLocks noGrp="1"/>
          </p:cNvSpPr>
          <p:nvPr>
            <p:ph type="body" sz="quarter" idx="27" hasCustomPrompt="1"/>
          </p:nvPr>
        </p:nvSpPr>
        <p:spPr>
          <a:xfrm>
            <a:off x="8694892" y="3450042"/>
            <a:ext cx="1601096" cy="1606646"/>
          </a:xfrm>
          <a:prstGeom prst="round2DiagRect">
            <a:avLst>
              <a:gd name="adj1" fmla="val 36276"/>
              <a:gd name="adj2" fmla="val 0"/>
            </a:avLst>
          </a:prstGeom>
          <a:solidFill>
            <a:schemeClr val="accent4"/>
          </a:solidFill>
        </p:spPr>
        <p:txBody>
          <a:bodyPr anchor="b" anchorCtr="0">
            <a:normAutofit/>
          </a:bodyPr>
          <a:lstStyle>
            <a:lvl1pPr>
              <a:defRPr sz="1800">
                <a:solidFill>
                  <a:schemeClr val="tx1"/>
                </a:solidFill>
                <a:latin typeface="+mn-lt"/>
              </a:defRPr>
            </a:lvl1pPr>
          </a:lstStyle>
          <a:p>
            <a:pPr lvl="0"/>
            <a:r>
              <a:rPr lang="nl-NL"/>
              <a:t>Naam</a:t>
            </a:r>
          </a:p>
        </p:txBody>
      </p:sp>
      <p:sp>
        <p:nvSpPr>
          <p:cNvPr id="70" name="Tijdelijke aanduiding voor tekst 16">
            <a:extLst>
              <a:ext uri="{FF2B5EF4-FFF2-40B4-BE49-F238E27FC236}">
                <a16:creationId xmlns:a16="http://schemas.microsoft.com/office/drawing/2014/main" id="{B37D1FB1-A0D4-4B93-88F3-F1221E631366}"/>
              </a:ext>
            </a:extLst>
          </p:cNvPr>
          <p:cNvSpPr>
            <a:spLocks noGrp="1"/>
          </p:cNvSpPr>
          <p:nvPr>
            <p:ph type="body" sz="quarter" idx="43" hasCustomPrompt="1"/>
          </p:nvPr>
        </p:nvSpPr>
        <p:spPr>
          <a:xfrm>
            <a:off x="12464852" y="3429167"/>
            <a:ext cx="1601096" cy="1606646"/>
          </a:xfrm>
          <a:prstGeom prst="round2DiagRect">
            <a:avLst>
              <a:gd name="adj1" fmla="val 36276"/>
              <a:gd name="adj2" fmla="val 0"/>
            </a:avLst>
          </a:prstGeom>
          <a:solidFill>
            <a:schemeClr val="accent2"/>
          </a:solidFill>
        </p:spPr>
        <p:txBody>
          <a:bodyPr anchor="b" anchorCtr="0">
            <a:normAutofit/>
          </a:bodyPr>
          <a:lstStyle>
            <a:lvl1pPr>
              <a:defRPr sz="1800">
                <a:solidFill>
                  <a:schemeClr val="tx1"/>
                </a:solidFill>
                <a:latin typeface="+mn-lt"/>
              </a:defRPr>
            </a:lvl1pPr>
          </a:lstStyle>
          <a:p>
            <a:pPr lvl="0"/>
            <a:r>
              <a:rPr lang="nl-NL"/>
              <a:t>Naam</a:t>
            </a:r>
          </a:p>
        </p:txBody>
      </p:sp>
      <p:sp>
        <p:nvSpPr>
          <p:cNvPr id="71" name="Tijdelijke aanduiding voor tekst 16">
            <a:extLst>
              <a:ext uri="{FF2B5EF4-FFF2-40B4-BE49-F238E27FC236}">
                <a16:creationId xmlns:a16="http://schemas.microsoft.com/office/drawing/2014/main" id="{90FE78DC-F7B6-4743-A61B-82F07DFE759B}"/>
              </a:ext>
            </a:extLst>
          </p:cNvPr>
          <p:cNvSpPr>
            <a:spLocks noGrp="1"/>
          </p:cNvSpPr>
          <p:nvPr>
            <p:ph type="body" sz="quarter" idx="44" hasCustomPrompt="1"/>
          </p:nvPr>
        </p:nvSpPr>
        <p:spPr>
          <a:xfrm>
            <a:off x="16247557" y="3503841"/>
            <a:ext cx="1601096" cy="1606646"/>
          </a:xfrm>
          <a:prstGeom prst="round2DiagRect">
            <a:avLst>
              <a:gd name="adj1" fmla="val 36276"/>
              <a:gd name="adj2" fmla="val 0"/>
            </a:avLst>
          </a:prstGeom>
          <a:solidFill>
            <a:schemeClr val="accent1"/>
          </a:solidFill>
        </p:spPr>
        <p:txBody>
          <a:bodyPr anchor="b" anchorCtr="0">
            <a:normAutofit/>
          </a:bodyPr>
          <a:lstStyle>
            <a:lvl1pPr>
              <a:defRPr sz="1800">
                <a:solidFill>
                  <a:schemeClr val="bg1"/>
                </a:solidFill>
                <a:latin typeface="+mn-lt"/>
              </a:defRPr>
            </a:lvl1pPr>
          </a:lstStyle>
          <a:p>
            <a:pPr lvl="0"/>
            <a:r>
              <a:rPr lang="nl-NL"/>
              <a:t>Naam</a:t>
            </a:r>
          </a:p>
        </p:txBody>
      </p:sp>
      <p:sp>
        <p:nvSpPr>
          <p:cNvPr id="72" name="Tijdelijke aanduiding voor tekst 16">
            <a:extLst>
              <a:ext uri="{FF2B5EF4-FFF2-40B4-BE49-F238E27FC236}">
                <a16:creationId xmlns:a16="http://schemas.microsoft.com/office/drawing/2014/main" id="{C03BA77D-78EB-4522-B147-A1CEB187DDDD}"/>
              </a:ext>
            </a:extLst>
          </p:cNvPr>
          <p:cNvSpPr>
            <a:spLocks noGrp="1"/>
          </p:cNvSpPr>
          <p:nvPr>
            <p:ph type="body" sz="quarter" idx="45" hasCustomPrompt="1"/>
          </p:nvPr>
        </p:nvSpPr>
        <p:spPr>
          <a:xfrm>
            <a:off x="19983752" y="3450042"/>
            <a:ext cx="1601096" cy="1606646"/>
          </a:xfrm>
          <a:prstGeom prst="round2DiagRect">
            <a:avLst>
              <a:gd name="adj1" fmla="val 36276"/>
              <a:gd name="adj2" fmla="val 0"/>
            </a:avLst>
          </a:prstGeom>
          <a:solidFill>
            <a:schemeClr val="accent2"/>
          </a:solidFill>
        </p:spPr>
        <p:txBody>
          <a:bodyPr anchor="b" anchorCtr="0">
            <a:normAutofit/>
          </a:bodyPr>
          <a:lstStyle>
            <a:lvl1pPr>
              <a:defRPr sz="1800">
                <a:solidFill>
                  <a:schemeClr val="tx1"/>
                </a:solidFill>
                <a:latin typeface="+mn-lt"/>
              </a:defRPr>
            </a:lvl1pPr>
          </a:lstStyle>
          <a:p>
            <a:pPr lvl="0"/>
            <a:r>
              <a:rPr lang="nl-NL"/>
              <a:t>Naam</a:t>
            </a:r>
          </a:p>
        </p:txBody>
      </p:sp>
      <p:sp>
        <p:nvSpPr>
          <p:cNvPr id="73" name="Tijdelijke aanduiding voor tekst 16">
            <a:extLst>
              <a:ext uri="{FF2B5EF4-FFF2-40B4-BE49-F238E27FC236}">
                <a16:creationId xmlns:a16="http://schemas.microsoft.com/office/drawing/2014/main" id="{D9304DE9-0D5B-4AF7-A405-5A9832FCC3C3}"/>
              </a:ext>
            </a:extLst>
          </p:cNvPr>
          <p:cNvSpPr>
            <a:spLocks noGrp="1"/>
          </p:cNvSpPr>
          <p:nvPr>
            <p:ph type="body" sz="quarter" idx="46" hasCustomPrompt="1"/>
          </p:nvPr>
        </p:nvSpPr>
        <p:spPr>
          <a:xfrm>
            <a:off x="1257772" y="7154232"/>
            <a:ext cx="1601096" cy="1606646"/>
          </a:xfrm>
          <a:prstGeom prst="round2DiagRect">
            <a:avLst>
              <a:gd name="adj1" fmla="val 36276"/>
              <a:gd name="adj2" fmla="val 0"/>
            </a:avLst>
          </a:prstGeom>
          <a:solidFill>
            <a:schemeClr val="accent3"/>
          </a:solidFill>
        </p:spPr>
        <p:txBody>
          <a:bodyPr anchor="b" anchorCtr="0">
            <a:normAutofit/>
          </a:bodyPr>
          <a:lstStyle>
            <a:lvl1pPr>
              <a:defRPr sz="1800">
                <a:solidFill>
                  <a:schemeClr val="tx1"/>
                </a:solidFill>
                <a:latin typeface="+mn-lt"/>
              </a:defRPr>
            </a:lvl1pPr>
          </a:lstStyle>
          <a:p>
            <a:pPr lvl="0"/>
            <a:r>
              <a:rPr lang="nl-NL"/>
              <a:t>Naam</a:t>
            </a:r>
          </a:p>
        </p:txBody>
      </p:sp>
      <p:sp>
        <p:nvSpPr>
          <p:cNvPr id="74" name="Tijdelijke aanduiding voor tekst 16">
            <a:extLst>
              <a:ext uri="{FF2B5EF4-FFF2-40B4-BE49-F238E27FC236}">
                <a16:creationId xmlns:a16="http://schemas.microsoft.com/office/drawing/2014/main" id="{500595B5-DDA9-4FFB-B8FF-FECB24A00B0A}"/>
              </a:ext>
            </a:extLst>
          </p:cNvPr>
          <p:cNvSpPr>
            <a:spLocks noGrp="1"/>
          </p:cNvSpPr>
          <p:nvPr>
            <p:ph type="body" sz="quarter" idx="47" hasCustomPrompt="1"/>
          </p:nvPr>
        </p:nvSpPr>
        <p:spPr>
          <a:xfrm>
            <a:off x="5027732" y="7133357"/>
            <a:ext cx="1601096" cy="1606646"/>
          </a:xfrm>
          <a:prstGeom prst="round2DiagRect">
            <a:avLst>
              <a:gd name="adj1" fmla="val 36276"/>
              <a:gd name="adj2" fmla="val 0"/>
            </a:avLst>
          </a:prstGeom>
          <a:solidFill>
            <a:schemeClr val="accent1"/>
          </a:solidFill>
        </p:spPr>
        <p:txBody>
          <a:bodyPr anchor="b" anchorCtr="0">
            <a:normAutofit/>
          </a:bodyPr>
          <a:lstStyle>
            <a:lvl1pPr>
              <a:defRPr sz="1800">
                <a:solidFill>
                  <a:schemeClr val="bg1"/>
                </a:solidFill>
                <a:latin typeface="+mn-lt"/>
              </a:defRPr>
            </a:lvl1pPr>
          </a:lstStyle>
          <a:p>
            <a:pPr lvl="0"/>
            <a:r>
              <a:rPr lang="nl-NL"/>
              <a:t>Naam</a:t>
            </a:r>
          </a:p>
        </p:txBody>
      </p:sp>
      <p:sp>
        <p:nvSpPr>
          <p:cNvPr id="75" name="Tijdelijke aanduiding voor tekst 16">
            <a:extLst>
              <a:ext uri="{FF2B5EF4-FFF2-40B4-BE49-F238E27FC236}">
                <a16:creationId xmlns:a16="http://schemas.microsoft.com/office/drawing/2014/main" id="{54DBCFA7-04EC-4945-A983-C67216E4D077}"/>
              </a:ext>
            </a:extLst>
          </p:cNvPr>
          <p:cNvSpPr>
            <a:spLocks noGrp="1"/>
          </p:cNvSpPr>
          <p:nvPr>
            <p:ph type="body" sz="quarter" idx="48" hasCustomPrompt="1"/>
          </p:nvPr>
        </p:nvSpPr>
        <p:spPr>
          <a:xfrm>
            <a:off x="8810437" y="7208031"/>
            <a:ext cx="1601096" cy="1606646"/>
          </a:xfrm>
          <a:prstGeom prst="round2DiagRect">
            <a:avLst>
              <a:gd name="adj1" fmla="val 36276"/>
              <a:gd name="adj2" fmla="val 0"/>
            </a:avLst>
          </a:prstGeom>
          <a:solidFill>
            <a:schemeClr val="accent5"/>
          </a:solidFill>
        </p:spPr>
        <p:txBody>
          <a:bodyPr anchor="b" anchorCtr="0">
            <a:normAutofit/>
          </a:bodyPr>
          <a:lstStyle>
            <a:lvl1pPr>
              <a:defRPr sz="1800">
                <a:solidFill>
                  <a:schemeClr val="bg1"/>
                </a:solidFill>
                <a:latin typeface="+mn-lt"/>
              </a:defRPr>
            </a:lvl1pPr>
          </a:lstStyle>
          <a:p>
            <a:pPr lvl="0"/>
            <a:r>
              <a:rPr lang="nl-NL"/>
              <a:t>Naam</a:t>
            </a:r>
          </a:p>
        </p:txBody>
      </p:sp>
      <p:sp>
        <p:nvSpPr>
          <p:cNvPr id="76" name="Tijdelijke aanduiding voor tekst 16">
            <a:extLst>
              <a:ext uri="{FF2B5EF4-FFF2-40B4-BE49-F238E27FC236}">
                <a16:creationId xmlns:a16="http://schemas.microsoft.com/office/drawing/2014/main" id="{4C9750C9-C942-4FC4-86DB-BE13B23FB947}"/>
              </a:ext>
            </a:extLst>
          </p:cNvPr>
          <p:cNvSpPr>
            <a:spLocks noGrp="1"/>
          </p:cNvSpPr>
          <p:nvPr>
            <p:ph type="body" sz="quarter" idx="49" hasCustomPrompt="1"/>
          </p:nvPr>
        </p:nvSpPr>
        <p:spPr>
          <a:xfrm>
            <a:off x="12546632" y="7154232"/>
            <a:ext cx="1601096" cy="1606646"/>
          </a:xfrm>
          <a:prstGeom prst="round2DiagRect">
            <a:avLst>
              <a:gd name="adj1" fmla="val 36276"/>
              <a:gd name="adj2" fmla="val 0"/>
            </a:avLst>
          </a:prstGeom>
          <a:solidFill>
            <a:schemeClr val="accent2"/>
          </a:solidFill>
        </p:spPr>
        <p:txBody>
          <a:bodyPr anchor="b" anchorCtr="0">
            <a:normAutofit/>
          </a:bodyPr>
          <a:lstStyle>
            <a:lvl1pPr>
              <a:defRPr sz="1800">
                <a:solidFill>
                  <a:schemeClr val="tx1"/>
                </a:solidFill>
                <a:latin typeface="+mn-lt"/>
              </a:defRPr>
            </a:lvl1pPr>
          </a:lstStyle>
          <a:p>
            <a:pPr lvl="0"/>
            <a:r>
              <a:rPr lang="nl-NL"/>
              <a:t>Naam</a:t>
            </a:r>
          </a:p>
        </p:txBody>
      </p:sp>
      <p:sp>
        <p:nvSpPr>
          <p:cNvPr id="77" name="Tijdelijke aanduiding voor tekst 16">
            <a:extLst>
              <a:ext uri="{FF2B5EF4-FFF2-40B4-BE49-F238E27FC236}">
                <a16:creationId xmlns:a16="http://schemas.microsoft.com/office/drawing/2014/main" id="{F61F0CFD-C77B-4DC6-91C0-B78E34EC7CEA}"/>
              </a:ext>
            </a:extLst>
          </p:cNvPr>
          <p:cNvSpPr>
            <a:spLocks noGrp="1"/>
          </p:cNvSpPr>
          <p:nvPr>
            <p:ph type="body" sz="quarter" idx="50" hasCustomPrompt="1"/>
          </p:nvPr>
        </p:nvSpPr>
        <p:spPr>
          <a:xfrm>
            <a:off x="1257772" y="10962054"/>
            <a:ext cx="1601096" cy="1606646"/>
          </a:xfrm>
          <a:prstGeom prst="round2DiagRect">
            <a:avLst>
              <a:gd name="adj1" fmla="val 36276"/>
              <a:gd name="adj2" fmla="val 0"/>
            </a:avLst>
          </a:prstGeom>
          <a:solidFill>
            <a:schemeClr val="accent2"/>
          </a:solidFill>
        </p:spPr>
        <p:txBody>
          <a:bodyPr anchor="b" anchorCtr="0">
            <a:normAutofit/>
          </a:bodyPr>
          <a:lstStyle>
            <a:lvl1pPr>
              <a:defRPr sz="1800">
                <a:solidFill>
                  <a:schemeClr val="tx1"/>
                </a:solidFill>
                <a:latin typeface="+mn-lt"/>
              </a:defRPr>
            </a:lvl1pPr>
          </a:lstStyle>
          <a:p>
            <a:pPr lvl="0"/>
            <a:r>
              <a:rPr lang="nl-NL"/>
              <a:t>Naam</a:t>
            </a:r>
          </a:p>
        </p:txBody>
      </p:sp>
      <p:sp>
        <p:nvSpPr>
          <p:cNvPr id="78" name="Tijdelijke aanduiding voor tekst 16">
            <a:extLst>
              <a:ext uri="{FF2B5EF4-FFF2-40B4-BE49-F238E27FC236}">
                <a16:creationId xmlns:a16="http://schemas.microsoft.com/office/drawing/2014/main" id="{1ADAD69A-A98C-4148-96B0-018F906DEC87}"/>
              </a:ext>
            </a:extLst>
          </p:cNvPr>
          <p:cNvSpPr>
            <a:spLocks noGrp="1"/>
          </p:cNvSpPr>
          <p:nvPr>
            <p:ph type="body" sz="quarter" idx="51" hasCustomPrompt="1"/>
          </p:nvPr>
        </p:nvSpPr>
        <p:spPr>
          <a:xfrm>
            <a:off x="5027732" y="10941179"/>
            <a:ext cx="1601096" cy="1606646"/>
          </a:xfrm>
          <a:prstGeom prst="round2DiagRect">
            <a:avLst>
              <a:gd name="adj1" fmla="val 36276"/>
              <a:gd name="adj2" fmla="val 0"/>
            </a:avLst>
          </a:prstGeom>
          <a:solidFill>
            <a:schemeClr val="accent4"/>
          </a:solidFill>
        </p:spPr>
        <p:txBody>
          <a:bodyPr anchor="b" anchorCtr="0">
            <a:normAutofit/>
          </a:bodyPr>
          <a:lstStyle>
            <a:lvl1pPr>
              <a:defRPr sz="1800">
                <a:solidFill>
                  <a:schemeClr val="tx1"/>
                </a:solidFill>
                <a:latin typeface="+mn-lt"/>
              </a:defRPr>
            </a:lvl1pPr>
          </a:lstStyle>
          <a:p>
            <a:pPr lvl="0"/>
            <a:r>
              <a:rPr lang="nl-NL"/>
              <a:t>Naam</a:t>
            </a:r>
          </a:p>
        </p:txBody>
      </p:sp>
      <p:sp>
        <p:nvSpPr>
          <p:cNvPr id="79" name="Tijdelijke aanduiding voor tekst 16">
            <a:extLst>
              <a:ext uri="{FF2B5EF4-FFF2-40B4-BE49-F238E27FC236}">
                <a16:creationId xmlns:a16="http://schemas.microsoft.com/office/drawing/2014/main" id="{9797DDC6-B445-435F-9881-246B875F8F36}"/>
              </a:ext>
            </a:extLst>
          </p:cNvPr>
          <p:cNvSpPr>
            <a:spLocks noGrp="1"/>
          </p:cNvSpPr>
          <p:nvPr>
            <p:ph type="body" sz="quarter" idx="52" hasCustomPrompt="1"/>
          </p:nvPr>
        </p:nvSpPr>
        <p:spPr>
          <a:xfrm>
            <a:off x="8810437" y="11015853"/>
            <a:ext cx="1601096" cy="1606646"/>
          </a:xfrm>
          <a:prstGeom prst="round2DiagRect">
            <a:avLst>
              <a:gd name="adj1" fmla="val 36276"/>
              <a:gd name="adj2" fmla="val 0"/>
            </a:avLst>
          </a:prstGeom>
          <a:solidFill>
            <a:schemeClr val="accent3"/>
          </a:solidFill>
        </p:spPr>
        <p:txBody>
          <a:bodyPr anchor="b" anchorCtr="0">
            <a:normAutofit/>
          </a:bodyPr>
          <a:lstStyle>
            <a:lvl1pPr>
              <a:defRPr sz="1800">
                <a:solidFill>
                  <a:schemeClr val="tx1"/>
                </a:solidFill>
                <a:latin typeface="+mn-lt"/>
              </a:defRPr>
            </a:lvl1pPr>
          </a:lstStyle>
          <a:p>
            <a:pPr lvl="0"/>
            <a:r>
              <a:rPr lang="nl-NL"/>
              <a:t>Naam</a:t>
            </a:r>
          </a:p>
        </p:txBody>
      </p:sp>
      <p:sp>
        <p:nvSpPr>
          <p:cNvPr id="80" name="Tijdelijke aanduiding voor tekst 16">
            <a:extLst>
              <a:ext uri="{FF2B5EF4-FFF2-40B4-BE49-F238E27FC236}">
                <a16:creationId xmlns:a16="http://schemas.microsoft.com/office/drawing/2014/main" id="{AFAE847E-864F-431A-BD3F-0C85ABBB75B0}"/>
              </a:ext>
            </a:extLst>
          </p:cNvPr>
          <p:cNvSpPr>
            <a:spLocks noGrp="1"/>
          </p:cNvSpPr>
          <p:nvPr>
            <p:ph type="body" sz="quarter" idx="53" hasCustomPrompt="1"/>
          </p:nvPr>
        </p:nvSpPr>
        <p:spPr>
          <a:xfrm>
            <a:off x="12546632" y="10962054"/>
            <a:ext cx="1601096" cy="1606646"/>
          </a:xfrm>
          <a:prstGeom prst="round2DiagRect">
            <a:avLst>
              <a:gd name="adj1" fmla="val 36276"/>
              <a:gd name="adj2" fmla="val 0"/>
            </a:avLst>
          </a:prstGeom>
          <a:solidFill>
            <a:schemeClr val="accent2"/>
          </a:solidFill>
        </p:spPr>
        <p:txBody>
          <a:bodyPr anchor="b" anchorCtr="0">
            <a:normAutofit/>
          </a:bodyPr>
          <a:lstStyle>
            <a:lvl1pPr>
              <a:defRPr sz="1800">
                <a:solidFill>
                  <a:schemeClr val="tx1"/>
                </a:solidFill>
                <a:latin typeface="+mn-lt"/>
              </a:defRPr>
            </a:lvl1pPr>
          </a:lstStyle>
          <a:p>
            <a:pPr lvl="0"/>
            <a:r>
              <a:rPr lang="nl-NL"/>
              <a:t>Naam</a:t>
            </a:r>
          </a:p>
        </p:txBody>
      </p:sp>
      <p:sp>
        <p:nvSpPr>
          <p:cNvPr id="81" name="Tijdelijke aanduiding voor tekst 16">
            <a:extLst>
              <a:ext uri="{FF2B5EF4-FFF2-40B4-BE49-F238E27FC236}">
                <a16:creationId xmlns:a16="http://schemas.microsoft.com/office/drawing/2014/main" id="{8A4A2EA6-4A5E-4B2D-9254-C999369FD4A2}"/>
              </a:ext>
            </a:extLst>
          </p:cNvPr>
          <p:cNvSpPr>
            <a:spLocks noGrp="1"/>
          </p:cNvSpPr>
          <p:nvPr>
            <p:ph type="body" sz="quarter" idx="54" hasCustomPrompt="1"/>
          </p:nvPr>
        </p:nvSpPr>
        <p:spPr>
          <a:xfrm>
            <a:off x="16213792" y="7251213"/>
            <a:ext cx="1601096" cy="1606646"/>
          </a:xfrm>
          <a:prstGeom prst="round2DiagRect">
            <a:avLst>
              <a:gd name="adj1" fmla="val 36276"/>
              <a:gd name="adj2" fmla="val 0"/>
            </a:avLst>
          </a:prstGeom>
          <a:solidFill>
            <a:schemeClr val="accent4"/>
          </a:solidFill>
        </p:spPr>
        <p:txBody>
          <a:bodyPr anchor="b" anchorCtr="0">
            <a:normAutofit/>
          </a:bodyPr>
          <a:lstStyle>
            <a:lvl1pPr>
              <a:defRPr sz="1800">
                <a:solidFill>
                  <a:schemeClr val="tx1"/>
                </a:solidFill>
                <a:latin typeface="+mn-lt"/>
              </a:defRPr>
            </a:lvl1pPr>
          </a:lstStyle>
          <a:p>
            <a:pPr lvl="0"/>
            <a:r>
              <a:rPr lang="nl-NL"/>
              <a:t>Naam</a:t>
            </a:r>
          </a:p>
        </p:txBody>
      </p:sp>
      <p:sp>
        <p:nvSpPr>
          <p:cNvPr id="82" name="Tijdelijke aanduiding voor tekst 16">
            <a:extLst>
              <a:ext uri="{FF2B5EF4-FFF2-40B4-BE49-F238E27FC236}">
                <a16:creationId xmlns:a16="http://schemas.microsoft.com/office/drawing/2014/main" id="{79FA4C7F-4C64-489A-B20C-B281A788E383}"/>
              </a:ext>
            </a:extLst>
          </p:cNvPr>
          <p:cNvSpPr>
            <a:spLocks noGrp="1"/>
          </p:cNvSpPr>
          <p:nvPr>
            <p:ph type="body" sz="quarter" idx="55" hasCustomPrompt="1"/>
          </p:nvPr>
        </p:nvSpPr>
        <p:spPr>
          <a:xfrm>
            <a:off x="19983752" y="7230338"/>
            <a:ext cx="1601096" cy="1606646"/>
          </a:xfrm>
          <a:prstGeom prst="round2DiagRect">
            <a:avLst>
              <a:gd name="adj1" fmla="val 36276"/>
              <a:gd name="adj2" fmla="val 0"/>
            </a:avLst>
          </a:prstGeom>
          <a:solidFill>
            <a:schemeClr val="accent5"/>
          </a:solidFill>
        </p:spPr>
        <p:txBody>
          <a:bodyPr anchor="b" anchorCtr="0">
            <a:normAutofit/>
          </a:bodyPr>
          <a:lstStyle>
            <a:lvl1pPr>
              <a:defRPr sz="1800">
                <a:solidFill>
                  <a:schemeClr val="bg1"/>
                </a:solidFill>
                <a:latin typeface="+mn-lt"/>
              </a:defRPr>
            </a:lvl1pPr>
          </a:lstStyle>
          <a:p>
            <a:pPr lvl="0"/>
            <a:r>
              <a:rPr lang="nl-NL"/>
              <a:t>Naam</a:t>
            </a:r>
          </a:p>
        </p:txBody>
      </p:sp>
      <p:sp>
        <p:nvSpPr>
          <p:cNvPr id="83" name="Tijdelijke aanduiding voor tekst 16">
            <a:extLst>
              <a:ext uri="{FF2B5EF4-FFF2-40B4-BE49-F238E27FC236}">
                <a16:creationId xmlns:a16="http://schemas.microsoft.com/office/drawing/2014/main" id="{951786A5-7AF9-4A6B-862F-7DB95C48A990}"/>
              </a:ext>
            </a:extLst>
          </p:cNvPr>
          <p:cNvSpPr>
            <a:spLocks noGrp="1"/>
          </p:cNvSpPr>
          <p:nvPr>
            <p:ph type="body" sz="quarter" idx="56" hasCustomPrompt="1"/>
          </p:nvPr>
        </p:nvSpPr>
        <p:spPr>
          <a:xfrm>
            <a:off x="16329337" y="11009202"/>
            <a:ext cx="1601096" cy="1606646"/>
          </a:xfrm>
          <a:prstGeom prst="round2DiagRect">
            <a:avLst>
              <a:gd name="adj1" fmla="val 36276"/>
              <a:gd name="adj2" fmla="val 0"/>
            </a:avLst>
          </a:prstGeom>
          <a:solidFill>
            <a:schemeClr val="accent3"/>
          </a:solidFill>
        </p:spPr>
        <p:txBody>
          <a:bodyPr anchor="b" anchorCtr="0">
            <a:normAutofit/>
          </a:bodyPr>
          <a:lstStyle>
            <a:lvl1pPr>
              <a:defRPr sz="1800">
                <a:solidFill>
                  <a:schemeClr val="tx1"/>
                </a:solidFill>
                <a:latin typeface="+mn-lt"/>
              </a:defRPr>
            </a:lvl1pPr>
          </a:lstStyle>
          <a:p>
            <a:pPr lvl="0"/>
            <a:r>
              <a:rPr lang="nl-NL"/>
              <a:t>Naam</a:t>
            </a:r>
          </a:p>
        </p:txBody>
      </p:sp>
      <p:sp>
        <p:nvSpPr>
          <p:cNvPr id="84" name="Tijdelijke aanduiding voor tekst 16">
            <a:extLst>
              <a:ext uri="{FF2B5EF4-FFF2-40B4-BE49-F238E27FC236}">
                <a16:creationId xmlns:a16="http://schemas.microsoft.com/office/drawing/2014/main" id="{F6531E7D-FE5E-4882-80C6-C8EC26A28119}"/>
              </a:ext>
            </a:extLst>
          </p:cNvPr>
          <p:cNvSpPr>
            <a:spLocks noGrp="1"/>
          </p:cNvSpPr>
          <p:nvPr>
            <p:ph type="body" sz="quarter" idx="57" hasCustomPrompt="1"/>
          </p:nvPr>
        </p:nvSpPr>
        <p:spPr>
          <a:xfrm>
            <a:off x="20065532" y="10955403"/>
            <a:ext cx="1601096" cy="1606646"/>
          </a:xfrm>
          <a:prstGeom prst="round2DiagRect">
            <a:avLst>
              <a:gd name="adj1" fmla="val 36276"/>
              <a:gd name="adj2" fmla="val 0"/>
            </a:avLst>
          </a:prstGeom>
          <a:solidFill>
            <a:schemeClr val="accent1"/>
          </a:solidFill>
        </p:spPr>
        <p:txBody>
          <a:bodyPr anchor="b" anchorCtr="0">
            <a:normAutofit/>
          </a:bodyPr>
          <a:lstStyle>
            <a:lvl1pPr>
              <a:defRPr sz="1800">
                <a:solidFill>
                  <a:schemeClr val="bg1"/>
                </a:solidFill>
                <a:latin typeface="+mn-lt"/>
              </a:defRPr>
            </a:lvl1pPr>
          </a:lstStyle>
          <a:p>
            <a:pPr lvl="0"/>
            <a:r>
              <a:rPr lang="nl-NL"/>
              <a:t>Naam</a:t>
            </a:r>
          </a:p>
        </p:txBody>
      </p:sp>
      <p:sp>
        <p:nvSpPr>
          <p:cNvPr id="42" name="Tijdelijke aanduiding voor datum 4">
            <a:extLst>
              <a:ext uri="{FF2B5EF4-FFF2-40B4-BE49-F238E27FC236}">
                <a16:creationId xmlns:a16="http://schemas.microsoft.com/office/drawing/2014/main" id="{A269BD71-7887-47B1-A76A-8B23708D6348}"/>
              </a:ext>
            </a:extLst>
          </p:cNvPr>
          <p:cNvSpPr>
            <a:spLocks noGrp="1"/>
          </p:cNvSpPr>
          <p:nvPr>
            <p:ph type="dt" sz="half" idx="58"/>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43" name="Tijdelijke aanduiding voor voettekst 4">
            <a:extLst>
              <a:ext uri="{FF2B5EF4-FFF2-40B4-BE49-F238E27FC236}">
                <a16:creationId xmlns:a16="http://schemas.microsoft.com/office/drawing/2014/main" id="{6A4070D8-396B-47BD-B59A-C3959F25B200}"/>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Tree>
    <p:extLst>
      <p:ext uri="{BB962C8B-B14F-4D97-AF65-F5344CB8AC3E}">
        <p14:creationId xmlns:p14="http://schemas.microsoft.com/office/powerpoint/2010/main" val="18136137"/>
      </p:ext>
    </p:extLst>
  </p:cSld>
  <p:clrMapOvr>
    <a:masterClrMapping/>
  </p:clrMapOvr>
  <p:transition spd="med"/>
  <p:extLst>
    <p:ext uri="{DCECCB84-F9BA-43D5-87BE-67443E8EF086}">
      <p15:sldGuideLst xmlns:p15="http://schemas.microsoft.com/office/powerpoint/2012/main">
        <p15:guide id="1" orient="horz" pos="4320" userDrawn="1">
          <p15:clr>
            <a:srgbClr val="FBAE40"/>
          </p15:clr>
        </p15:guide>
        <p15:guide id="2" pos="768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am 17 pax">
    <p:spTree>
      <p:nvGrpSpPr>
        <p:cNvPr id="1" name=""/>
        <p:cNvGrpSpPr/>
        <p:nvPr/>
      </p:nvGrpSpPr>
      <p:grpSpPr>
        <a:xfrm>
          <a:off x="0" y="0"/>
          <a:ext cx="0" cy="0"/>
          <a:chOff x="0" y="0"/>
          <a:chExt cx="0" cy="0"/>
        </a:xfrm>
      </p:grpSpPr>
      <p:sp>
        <p:nvSpPr>
          <p:cNvPr id="48" name="Tijdelijke aanduiding voor afbeelding 4">
            <a:extLst>
              <a:ext uri="{FF2B5EF4-FFF2-40B4-BE49-F238E27FC236}">
                <a16:creationId xmlns:a16="http://schemas.microsoft.com/office/drawing/2014/main" id="{56308023-5269-413B-9974-035A8CF90D23}"/>
              </a:ext>
            </a:extLst>
          </p:cNvPr>
          <p:cNvSpPr>
            <a:spLocks noGrp="1"/>
          </p:cNvSpPr>
          <p:nvPr>
            <p:ph type="pic" sz="quarter" idx="62" hasCustomPrompt="1"/>
          </p:nvPr>
        </p:nvSpPr>
        <p:spPr>
          <a:xfrm>
            <a:off x="890595" y="5487979"/>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49" name="Tijdelijke aanduiding voor afbeelding 4">
            <a:extLst>
              <a:ext uri="{FF2B5EF4-FFF2-40B4-BE49-F238E27FC236}">
                <a16:creationId xmlns:a16="http://schemas.microsoft.com/office/drawing/2014/main" id="{6D0860F5-A654-4D9F-A3C2-5B9E0FD79ACD}"/>
              </a:ext>
            </a:extLst>
          </p:cNvPr>
          <p:cNvSpPr>
            <a:spLocks noGrp="1"/>
          </p:cNvSpPr>
          <p:nvPr>
            <p:ph type="pic" sz="quarter" idx="63" hasCustomPrompt="1"/>
          </p:nvPr>
        </p:nvSpPr>
        <p:spPr>
          <a:xfrm>
            <a:off x="4663353" y="5487979"/>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50" name="Tijdelijke aanduiding voor afbeelding 4">
            <a:extLst>
              <a:ext uri="{FF2B5EF4-FFF2-40B4-BE49-F238E27FC236}">
                <a16:creationId xmlns:a16="http://schemas.microsoft.com/office/drawing/2014/main" id="{DAD629BB-9687-4F65-9A23-D5B75ACEB65C}"/>
              </a:ext>
            </a:extLst>
          </p:cNvPr>
          <p:cNvSpPr>
            <a:spLocks noGrp="1"/>
          </p:cNvSpPr>
          <p:nvPr>
            <p:ph type="pic" sz="quarter" idx="64" hasCustomPrompt="1"/>
          </p:nvPr>
        </p:nvSpPr>
        <p:spPr>
          <a:xfrm>
            <a:off x="8436111" y="5487979"/>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53" name="Tijdelijke aanduiding voor afbeelding 4">
            <a:extLst>
              <a:ext uri="{FF2B5EF4-FFF2-40B4-BE49-F238E27FC236}">
                <a16:creationId xmlns:a16="http://schemas.microsoft.com/office/drawing/2014/main" id="{43B0E027-E92F-4FCF-B6AE-462481AD4659}"/>
              </a:ext>
            </a:extLst>
          </p:cNvPr>
          <p:cNvSpPr>
            <a:spLocks noGrp="1"/>
          </p:cNvSpPr>
          <p:nvPr>
            <p:ph type="pic" sz="quarter" idx="65" hasCustomPrompt="1"/>
          </p:nvPr>
        </p:nvSpPr>
        <p:spPr>
          <a:xfrm>
            <a:off x="12208869" y="5487979"/>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85" name="Tijdelijke aanduiding voor afbeelding 4">
            <a:extLst>
              <a:ext uri="{FF2B5EF4-FFF2-40B4-BE49-F238E27FC236}">
                <a16:creationId xmlns:a16="http://schemas.microsoft.com/office/drawing/2014/main" id="{F9627921-2306-4F02-8B30-C15F85E831C6}"/>
              </a:ext>
            </a:extLst>
          </p:cNvPr>
          <p:cNvSpPr>
            <a:spLocks noGrp="1"/>
          </p:cNvSpPr>
          <p:nvPr>
            <p:ph type="pic" sz="quarter" idx="66" hasCustomPrompt="1"/>
          </p:nvPr>
        </p:nvSpPr>
        <p:spPr>
          <a:xfrm>
            <a:off x="890595" y="9458827"/>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86" name="Tijdelijke aanduiding voor afbeelding 4">
            <a:extLst>
              <a:ext uri="{FF2B5EF4-FFF2-40B4-BE49-F238E27FC236}">
                <a16:creationId xmlns:a16="http://schemas.microsoft.com/office/drawing/2014/main" id="{BE7212F7-FFE0-4043-8547-32B110ADBC99}"/>
              </a:ext>
            </a:extLst>
          </p:cNvPr>
          <p:cNvSpPr>
            <a:spLocks noGrp="1"/>
          </p:cNvSpPr>
          <p:nvPr>
            <p:ph type="pic" sz="quarter" idx="67" hasCustomPrompt="1"/>
          </p:nvPr>
        </p:nvSpPr>
        <p:spPr>
          <a:xfrm>
            <a:off x="4663353" y="9458827"/>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87" name="Tijdelijke aanduiding voor afbeelding 4">
            <a:extLst>
              <a:ext uri="{FF2B5EF4-FFF2-40B4-BE49-F238E27FC236}">
                <a16:creationId xmlns:a16="http://schemas.microsoft.com/office/drawing/2014/main" id="{E220AFA2-ED47-4466-86BC-6F8C2AEA0308}"/>
              </a:ext>
            </a:extLst>
          </p:cNvPr>
          <p:cNvSpPr>
            <a:spLocks noGrp="1"/>
          </p:cNvSpPr>
          <p:nvPr>
            <p:ph type="pic" sz="quarter" idx="68" hasCustomPrompt="1"/>
          </p:nvPr>
        </p:nvSpPr>
        <p:spPr>
          <a:xfrm>
            <a:off x="8436111" y="9458827"/>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88" name="Tijdelijke aanduiding voor afbeelding 4">
            <a:extLst>
              <a:ext uri="{FF2B5EF4-FFF2-40B4-BE49-F238E27FC236}">
                <a16:creationId xmlns:a16="http://schemas.microsoft.com/office/drawing/2014/main" id="{2F69247B-3DC3-484B-AC12-27F304AD12EA}"/>
              </a:ext>
            </a:extLst>
          </p:cNvPr>
          <p:cNvSpPr>
            <a:spLocks noGrp="1"/>
          </p:cNvSpPr>
          <p:nvPr>
            <p:ph type="pic" sz="quarter" idx="69" hasCustomPrompt="1"/>
          </p:nvPr>
        </p:nvSpPr>
        <p:spPr>
          <a:xfrm>
            <a:off x="12208869" y="9458827"/>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89" name="Tijdelijke aanduiding voor afbeelding 4">
            <a:extLst>
              <a:ext uri="{FF2B5EF4-FFF2-40B4-BE49-F238E27FC236}">
                <a16:creationId xmlns:a16="http://schemas.microsoft.com/office/drawing/2014/main" id="{F4C9B101-2726-418F-9714-28CD43C16BF1}"/>
              </a:ext>
            </a:extLst>
          </p:cNvPr>
          <p:cNvSpPr>
            <a:spLocks noGrp="1"/>
          </p:cNvSpPr>
          <p:nvPr>
            <p:ph type="pic" sz="quarter" idx="70" hasCustomPrompt="1"/>
          </p:nvPr>
        </p:nvSpPr>
        <p:spPr>
          <a:xfrm>
            <a:off x="15981627" y="5487979"/>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90" name="Tijdelijke aanduiding voor afbeelding 4">
            <a:extLst>
              <a:ext uri="{FF2B5EF4-FFF2-40B4-BE49-F238E27FC236}">
                <a16:creationId xmlns:a16="http://schemas.microsoft.com/office/drawing/2014/main" id="{CCEE2110-2AAA-44A3-B74E-BAB490839E09}"/>
              </a:ext>
            </a:extLst>
          </p:cNvPr>
          <p:cNvSpPr>
            <a:spLocks noGrp="1"/>
          </p:cNvSpPr>
          <p:nvPr>
            <p:ph type="pic" sz="quarter" idx="71" hasCustomPrompt="1"/>
          </p:nvPr>
        </p:nvSpPr>
        <p:spPr>
          <a:xfrm>
            <a:off x="19754386" y="5487979"/>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91" name="Tijdelijke aanduiding voor afbeelding 4">
            <a:extLst>
              <a:ext uri="{FF2B5EF4-FFF2-40B4-BE49-F238E27FC236}">
                <a16:creationId xmlns:a16="http://schemas.microsoft.com/office/drawing/2014/main" id="{4009A7A3-D236-4FA5-8ED6-060072213F26}"/>
              </a:ext>
            </a:extLst>
          </p:cNvPr>
          <p:cNvSpPr>
            <a:spLocks noGrp="1"/>
          </p:cNvSpPr>
          <p:nvPr>
            <p:ph type="pic" sz="quarter" idx="72" hasCustomPrompt="1"/>
          </p:nvPr>
        </p:nvSpPr>
        <p:spPr>
          <a:xfrm>
            <a:off x="15981627" y="9458827"/>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92" name="Tijdelijke aanduiding voor afbeelding 4">
            <a:extLst>
              <a:ext uri="{FF2B5EF4-FFF2-40B4-BE49-F238E27FC236}">
                <a16:creationId xmlns:a16="http://schemas.microsoft.com/office/drawing/2014/main" id="{6070B636-85E8-459E-B32E-0299FB488C01}"/>
              </a:ext>
            </a:extLst>
          </p:cNvPr>
          <p:cNvSpPr>
            <a:spLocks noGrp="1"/>
          </p:cNvSpPr>
          <p:nvPr>
            <p:ph type="pic" sz="quarter" idx="73" hasCustomPrompt="1"/>
          </p:nvPr>
        </p:nvSpPr>
        <p:spPr>
          <a:xfrm>
            <a:off x="19754386" y="9458827"/>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44" name="Tijdelijke aanduiding voor afbeelding 4">
            <a:extLst>
              <a:ext uri="{FF2B5EF4-FFF2-40B4-BE49-F238E27FC236}">
                <a16:creationId xmlns:a16="http://schemas.microsoft.com/office/drawing/2014/main" id="{3A208742-123A-4463-A4E4-F69DA7874E04}"/>
              </a:ext>
            </a:extLst>
          </p:cNvPr>
          <p:cNvSpPr>
            <a:spLocks noGrp="1"/>
          </p:cNvSpPr>
          <p:nvPr>
            <p:ph type="pic" sz="quarter" idx="24" hasCustomPrompt="1"/>
          </p:nvPr>
        </p:nvSpPr>
        <p:spPr>
          <a:xfrm>
            <a:off x="8436111" y="1627227"/>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45" name="Tijdelijke aanduiding voor afbeelding 4">
            <a:extLst>
              <a:ext uri="{FF2B5EF4-FFF2-40B4-BE49-F238E27FC236}">
                <a16:creationId xmlns:a16="http://schemas.microsoft.com/office/drawing/2014/main" id="{CC9E9F84-0C2F-4AEF-AF64-4C9A2815C029}"/>
              </a:ext>
            </a:extLst>
          </p:cNvPr>
          <p:cNvSpPr>
            <a:spLocks noGrp="1"/>
          </p:cNvSpPr>
          <p:nvPr>
            <p:ph type="pic" sz="quarter" idx="59" hasCustomPrompt="1"/>
          </p:nvPr>
        </p:nvSpPr>
        <p:spPr>
          <a:xfrm>
            <a:off x="12208869" y="1627227"/>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46" name="Tijdelijke aanduiding voor afbeelding 4">
            <a:extLst>
              <a:ext uri="{FF2B5EF4-FFF2-40B4-BE49-F238E27FC236}">
                <a16:creationId xmlns:a16="http://schemas.microsoft.com/office/drawing/2014/main" id="{A97DAC88-8539-4311-A77F-3BCFE9C6D16F}"/>
              </a:ext>
            </a:extLst>
          </p:cNvPr>
          <p:cNvSpPr>
            <a:spLocks noGrp="1"/>
          </p:cNvSpPr>
          <p:nvPr>
            <p:ph type="pic" sz="quarter" idx="60" hasCustomPrompt="1"/>
          </p:nvPr>
        </p:nvSpPr>
        <p:spPr>
          <a:xfrm>
            <a:off x="15981627" y="1627227"/>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47" name="Tijdelijke aanduiding voor afbeelding 4">
            <a:extLst>
              <a:ext uri="{FF2B5EF4-FFF2-40B4-BE49-F238E27FC236}">
                <a16:creationId xmlns:a16="http://schemas.microsoft.com/office/drawing/2014/main" id="{D5652E8A-84C2-4D8F-A602-CA1D0CCA626F}"/>
              </a:ext>
            </a:extLst>
          </p:cNvPr>
          <p:cNvSpPr>
            <a:spLocks noGrp="1"/>
          </p:cNvSpPr>
          <p:nvPr>
            <p:ph type="pic" sz="quarter" idx="61" hasCustomPrompt="1"/>
          </p:nvPr>
        </p:nvSpPr>
        <p:spPr>
          <a:xfrm>
            <a:off x="19754386" y="1627227"/>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142" name="Dianummer"/>
          <p:cNvSpPr txBox="1">
            <a:spLocks noGrp="1"/>
          </p:cNvSpPr>
          <p:nvPr>
            <p:ph type="sldNum" sz="quarter" idx="2"/>
          </p:nvPr>
        </p:nvSpPr>
        <p:spPr>
          <a:prstGeom prst="rect">
            <a:avLst/>
          </a:prstGeom>
        </p:spPr>
        <p:txBody>
          <a:bodyPr/>
          <a:lstStyle>
            <a:lvl1pPr>
              <a:defRPr>
                <a:latin typeface="+mn-lt"/>
              </a:defRPr>
            </a:lvl1pPr>
          </a:lstStyle>
          <a:p>
            <a:fld id="{86CB4B4D-7CA3-9044-876B-883B54F8677D}" type="slidenum">
              <a:rPr lang="nl-NL" smtClean="0"/>
              <a:pPr/>
              <a:t>‹nr.›</a:t>
            </a:fld>
            <a:endParaRPr lang="nl-NL"/>
          </a:p>
        </p:txBody>
      </p:sp>
      <p:pic>
        <p:nvPicPr>
          <p:cNvPr id="23" name="Afbeelding" descr="Afbeelding">
            <a:extLst>
              <a:ext uri="{FF2B5EF4-FFF2-40B4-BE49-F238E27FC236}">
                <a16:creationId xmlns:a16="http://schemas.microsoft.com/office/drawing/2014/main" id="{B86A8481-6149-4A9C-8950-388027A0B347}"/>
              </a:ext>
            </a:extLst>
          </p:cNvPr>
          <p:cNvPicPr>
            <a:picLocks noChangeAspect="1"/>
          </p:cNvPicPr>
          <p:nvPr userDrawn="1"/>
        </p:nvPicPr>
        <p:blipFill>
          <a:blip r:embed="rId2"/>
          <a:stretch>
            <a:fillRect/>
          </a:stretch>
        </p:blipFill>
        <p:spPr>
          <a:xfrm>
            <a:off x="12208869" y="3578514"/>
            <a:ext cx="1593816" cy="1593816"/>
          </a:xfrm>
          <a:prstGeom prst="rect">
            <a:avLst/>
          </a:prstGeom>
          <a:ln w="12700">
            <a:miter lim="400000"/>
          </a:ln>
        </p:spPr>
      </p:pic>
      <p:sp>
        <p:nvSpPr>
          <p:cNvPr id="32" name="Charlotte  Derksen">
            <a:extLst>
              <a:ext uri="{FF2B5EF4-FFF2-40B4-BE49-F238E27FC236}">
                <a16:creationId xmlns:a16="http://schemas.microsoft.com/office/drawing/2014/main" id="{057C84DC-BFE2-4E74-BB67-6ECED75771B7}"/>
              </a:ext>
            </a:extLst>
          </p:cNvPr>
          <p:cNvSpPr txBox="1"/>
          <p:nvPr userDrawn="1"/>
        </p:nvSpPr>
        <p:spPr>
          <a:xfrm>
            <a:off x="15981627" y="4325305"/>
            <a:ext cx="1114586" cy="84702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lstStyle/>
          <a:p>
            <a:pPr>
              <a:lnSpc>
                <a:spcPct val="80000"/>
              </a:lnSpc>
              <a:spcBef>
                <a:spcPts val="0"/>
              </a:spcBef>
              <a:defRPr sz="2000" spc="-39">
                <a:solidFill>
                  <a:srgbClr val="FFFFFF"/>
                </a:solidFill>
                <a:latin typeface="Helvetica"/>
                <a:ea typeface="Helvetica"/>
                <a:cs typeface="Helvetica"/>
                <a:sym typeface="Helvetica"/>
              </a:defRPr>
            </a:pPr>
            <a:r>
              <a:rPr>
                <a:latin typeface="+mn-lt"/>
              </a:rPr>
              <a:t>Charlotte </a:t>
            </a:r>
            <a:br>
              <a:rPr>
                <a:latin typeface="+mn-lt"/>
              </a:rPr>
            </a:br>
            <a:r>
              <a:rPr>
                <a:latin typeface="+mn-lt"/>
              </a:rPr>
              <a:t>Derksen</a:t>
            </a:r>
          </a:p>
        </p:txBody>
      </p:sp>
      <p:sp>
        <p:nvSpPr>
          <p:cNvPr id="33" name="Marcel  Heskes">
            <a:extLst>
              <a:ext uri="{FF2B5EF4-FFF2-40B4-BE49-F238E27FC236}">
                <a16:creationId xmlns:a16="http://schemas.microsoft.com/office/drawing/2014/main" id="{1C8D4FB7-92FF-4521-9CB4-1064DC0464CE}"/>
              </a:ext>
            </a:extLst>
          </p:cNvPr>
          <p:cNvSpPr txBox="1"/>
          <p:nvPr userDrawn="1"/>
        </p:nvSpPr>
        <p:spPr>
          <a:xfrm>
            <a:off x="12208869" y="4325305"/>
            <a:ext cx="924005" cy="84702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50800" tIns="50800" rIns="50800" bIns="50800" anchor="ctr"/>
          <a:lstStyle/>
          <a:p>
            <a:pPr>
              <a:lnSpc>
                <a:spcPct val="80000"/>
              </a:lnSpc>
              <a:spcBef>
                <a:spcPts val="0"/>
              </a:spcBef>
              <a:defRPr sz="2000" spc="-39">
                <a:latin typeface="Helvetica"/>
                <a:ea typeface="Helvetica"/>
                <a:cs typeface="Helvetica"/>
                <a:sym typeface="Helvetica"/>
              </a:defRPr>
            </a:pPr>
            <a:r>
              <a:rPr>
                <a:latin typeface="+mn-lt"/>
              </a:rPr>
              <a:t>Marcel </a:t>
            </a:r>
            <a:br>
              <a:rPr>
                <a:latin typeface="+mn-lt"/>
              </a:rPr>
            </a:br>
            <a:r>
              <a:rPr>
                <a:latin typeface="+mn-lt"/>
              </a:rPr>
              <a:t>Heskes</a:t>
            </a:r>
          </a:p>
        </p:txBody>
      </p:sp>
      <p:sp>
        <p:nvSpPr>
          <p:cNvPr id="51" name="Titel 1">
            <a:extLst>
              <a:ext uri="{FF2B5EF4-FFF2-40B4-BE49-F238E27FC236}">
                <a16:creationId xmlns:a16="http://schemas.microsoft.com/office/drawing/2014/main" id="{66F276E5-9E16-45E0-B619-838BCEED8665}"/>
              </a:ext>
            </a:extLst>
          </p:cNvPr>
          <p:cNvSpPr>
            <a:spLocks noGrp="1"/>
          </p:cNvSpPr>
          <p:nvPr>
            <p:ph type="title" hasCustomPrompt="1"/>
          </p:nvPr>
        </p:nvSpPr>
        <p:spPr>
          <a:xfrm>
            <a:off x="1712658" y="2516047"/>
            <a:ext cx="2456670" cy="1524272"/>
          </a:xfrm>
        </p:spPr>
        <p:txBody>
          <a:bodyPr/>
          <a:lstStyle>
            <a:lvl1pPr>
              <a:defRPr/>
            </a:lvl1pPr>
          </a:lstStyle>
          <a:p>
            <a:r>
              <a:rPr lang="nl-NL"/>
              <a:t>Ons Team</a:t>
            </a:r>
          </a:p>
        </p:txBody>
      </p:sp>
      <p:sp>
        <p:nvSpPr>
          <p:cNvPr id="54" name="Tijdelijke aanduiding voor tekst 16">
            <a:extLst>
              <a:ext uri="{FF2B5EF4-FFF2-40B4-BE49-F238E27FC236}">
                <a16:creationId xmlns:a16="http://schemas.microsoft.com/office/drawing/2014/main" id="{50AAAAA8-CA72-4907-8768-815713F491CA}"/>
              </a:ext>
            </a:extLst>
          </p:cNvPr>
          <p:cNvSpPr>
            <a:spLocks noGrp="1"/>
          </p:cNvSpPr>
          <p:nvPr>
            <p:ph type="body" sz="quarter" idx="27" hasCustomPrompt="1"/>
          </p:nvPr>
        </p:nvSpPr>
        <p:spPr>
          <a:xfrm>
            <a:off x="8436111" y="3565684"/>
            <a:ext cx="1601096" cy="1606646"/>
          </a:xfrm>
          <a:prstGeom prst="round2DiagRect">
            <a:avLst>
              <a:gd name="adj1" fmla="val 36276"/>
              <a:gd name="adj2" fmla="val 0"/>
            </a:avLst>
          </a:prstGeom>
          <a:solidFill>
            <a:schemeClr val="accent4"/>
          </a:solidFill>
        </p:spPr>
        <p:txBody>
          <a:bodyPr anchor="b" anchorCtr="0">
            <a:normAutofit/>
          </a:bodyPr>
          <a:lstStyle>
            <a:lvl1pPr>
              <a:defRPr sz="1800">
                <a:solidFill>
                  <a:schemeClr val="tx1"/>
                </a:solidFill>
                <a:latin typeface="+mn-lt"/>
              </a:defRPr>
            </a:lvl1pPr>
          </a:lstStyle>
          <a:p>
            <a:pPr lvl="0"/>
            <a:r>
              <a:rPr lang="nl-NL"/>
              <a:t>Naam</a:t>
            </a:r>
          </a:p>
        </p:txBody>
      </p:sp>
      <p:sp>
        <p:nvSpPr>
          <p:cNvPr id="70" name="Tijdelijke aanduiding voor tekst 16">
            <a:extLst>
              <a:ext uri="{FF2B5EF4-FFF2-40B4-BE49-F238E27FC236}">
                <a16:creationId xmlns:a16="http://schemas.microsoft.com/office/drawing/2014/main" id="{B37D1FB1-A0D4-4B93-88F3-F1221E631366}"/>
              </a:ext>
            </a:extLst>
          </p:cNvPr>
          <p:cNvSpPr>
            <a:spLocks noGrp="1"/>
          </p:cNvSpPr>
          <p:nvPr>
            <p:ph type="body" sz="quarter" idx="43" hasCustomPrompt="1"/>
          </p:nvPr>
        </p:nvSpPr>
        <p:spPr>
          <a:xfrm>
            <a:off x="12208869" y="3565684"/>
            <a:ext cx="1601096" cy="1606646"/>
          </a:xfrm>
          <a:prstGeom prst="round2DiagRect">
            <a:avLst>
              <a:gd name="adj1" fmla="val 36276"/>
              <a:gd name="adj2" fmla="val 0"/>
            </a:avLst>
          </a:prstGeom>
          <a:solidFill>
            <a:schemeClr val="accent2"/>
          </a:solidFill>
        </p:spPr>
        <p:txBody>
          <a:bodyPr anchor="b" anchorCtr="0">
            <a:normAutofit/>
          </a:bodyPr>
          <a:lstStyle>
            <a:lvl1pPr>
              <a:defRPr sz="1800">
                <a:solidFill>
                  <a:schemeClr val="tx1"/>
                </a:solidFill>
                <a:latin typeface="+mn-lt"/>
              </a:defRPr>
            </a:lvl1pPr>
          </a:lstStyle>
          <a:p>
            <a:pPr lvl="0"/>
            <a:r>
              <a:rPr lang="nl-NL"/>
              <a:t>Naam</a:t>
            </a:r>
          </a:p>
        </p:txBody>
      </p:sp>
      <p:sp>
        <p:nvSpPr>
          <p:cNvPr id="71" name="Tijdelijke aanduiding voor tekst 16">
            <a:extLst>
              <a:ext uri="{FF2B5EF4-FFF2-40B4-BE49-F238E27FC236}">
                <a16:creationId xmlns:a16="http://schemas.microsoft.com/office/drawing/2014/main" id="{90FE78DC-F7B6-4743-A61B-82F07DFE759B}"/>
              </a:ext>
            </a:extLst>
          </p:cNvPr>
          <p:cNvSpPr>
            <a:spLocks noGrp="1"/>
          </p:cNvSpPr>
          <p:nvPr>
            <p:ph type="body" sz="quarter" idx="44" hasCustomPrompt="1"/>
          </p:nvPr>
        </p:nvSpPr>
        <p:spPr>
          <a:xfrm>
            <a:off x="15981627" y="3565684"/>
            <a:ext cx="1601096" cy="1606646"/>
          </a:xfrm>
          <a:prstGeom prst="round2DiagRect">
            <a:avLst>
              <a:gd name="adj1" fmla="val 36276"/>
              <a:gd name="adj2" fmla="val 0"/>
            </a:avLst>
          </a:prstGeom>
          <a:solidFill>
            <a:schemeClr val="accent1"/>
          </a:solidFill>
        </p:spPr>
        <p:txBody>
          <a:bodyPr anchor="b" anchorCtr="0">
            <a:normAutofit/>
          </a:bodyPr>
          <a:lstStyle>
            <a:lvl1pPr>
              <a:defRPr sz="1800">
                <a:solidFill>
                  <a:schemeClr val="bg1"/>
                </a:solidFill>
                <a:latin typeface="+mn-lt"/>
              </a:defRPr>
            </a:lvl1pPr>
          </a:lstStyle>
          <a:p>
            <a:pPr lvl="0"/>
            <a:r>
              <a:rPr lang="nl-NL"/>
              <a:t>Naam</a:t>
            </a:r>
          </a:p>
        </p:txBody>
      </p:sp>
      <p:sp>
        <p:nvSpPr>
          <p:cNvPr id="72" name="Tijdelijke aanduiding voor tekst 16">
            <a:extLst>
              <a:ext uri="{FF2B5EF4-FFF2-40B4-BE49-F238E27FC236}">
                <a16:creationId xmlns:a16="http://schemas.microsoft.com/office/drawing/2014/main" id="{C03BA77D-78EB-4522-B147-A1CEB187DDDD}"/>
              </a:ext>
            </a:extLst>
          </p:cNvPr>
          <p:cNvSpPr>
            <a:spLocks noGrp="1"/>
          </p:cNvSpPr>
          <p:nvPr>
            <p:ph type="body" sz="quarter" idx="45" hasCustomPrompt="1"/>
          </p:nvPr>
        </p:nvSpPr>
        <p:spPr>
          <a:xfrm>
            <a:off x="19754386" y="3565684"/>
            <a:ext cx="1601096" cy="1606646"/>
          </a:xfrm>
          <a:prstGeom prst="round2DiagRect">
            <a:avLst>
              <a:gd name="adj1" fmla="val 36276"/>
              <a:gd name="adj2" fmla="val 0"/>
            </a:avLst>
          </a:prstGeom>
          <a:solidFill>
            <a:schemeClr val="accent2"/>
          </a:solidFill>
        </p:spPr>
        <p:txBody>
          <a:bodyPr anchor="b" anchorCtr="0">
            <a:normAutofit/>
          </a:bodyPr>
          <a:lstStyle>
            <a:lvl1pPr>
              <a:defRPr sz="1800">
                <a:solidFill>
                  <a:schemeClr val="tx1"/>
                </a:solidFill>
                <a:latin typeface="+mn-lt"/>
              </a:defRPr>
            </a:lvl1pPr>
          </a:lstStyle>
          <a:p>
            <a:pPr lvl="0"/>
            <a:r>
              <a:rPr lang="nl-NL"/>
              <a:t>Naam</a:t>
            </a:r>
          </a:p>
        </p:txBody>
      </p:sp>
      <p:sp>
        <p:nvSpPr>
          <p:cNvPr id="73" name="Tijdelijke aanduiding voor tekst 16">
            <a:extLst>
              <a:ext uri="{FF2B5EF4-FFF2-40B4-BE49-F238E27FC236}">
                <a16:creationId xmlns:a16="http://schemas.microsoft.com/office/drawing/2014/main" id="{D9304DE9-0D5B-4AF7-A405-5A9832FCC3C3}"/>
              </a:ext>
            </a:extLst>
          </p:cNvPr>
          <p:cNvSpPr>
            <a:spLocks noGrp="1"/>
          </p:cNvSpPr>
          <p:nvPr>
            <p:ph type="body" sz="quarter" idx="46" hasCustomPrompt="1"/>
          </p:nvPr>
        </p:nvSpPr>
        <p:spPr>
          <a:xfrm>
            <a:off x="890595" y="7426436"/>
            <a:ext cx="1601096" cy="1606646"/>
          </a:xfrm>
          <a:prstGeom prst="round2DiagRect">
            <a:avLst>
              <a:gd name="adj1" fmla="val 36276"/>
              <a:gd name="adj2" fmla="val 0"/>
            </a:avLst>
          </a:prstGeom>
          <a:solidFill>
            <a:schemeClr val="accent3"/>
          </a:solidFill>
        </p:spPr>
        <p:txBody>
          <a:bodyPr anchor="b" anchorCtr="0">
            <a:normAutofit/>
          </a:bodyPr>
          <a:lstStyle>
            <a:lvl1pPr>
              <a:defRPr sz="1800">
                <a:solidFill>
                  <a:schemeClr val="tx1"/>
                </a:solidFill>
                <a:latin typeface="+mn-lt"/>
              </a:defRPr>
            </a:lvl1pPr>
          </a:lstStyle>
          <a:p>
            <a:pPr lvl="0"/>
            <a:r>
              <a:rPr lang="nl-NL"/>
              <a:t>Naam</a:t>
            </a:r>
          </a:p>
        </p:txBody>
      </p:sp>
      <p:sp>
        <p:nvSpPr>
          <p:cNvPr id="74" name="Tijdelijke aanduiding voor tekst 16">
            <a:extLst>
              <a:ext uri="{FF2B5EF4-FFF2-40B4-BE49-F238E27FC236}">
                <a16:creationId xmlns:a16="http://schemas.microsoft.com/office/drawing/2014/main" id="{500595B5-DDA9-4FFB-B8FF-FECB24A00B0A}"/>
              </a:ext>
            </a:extLst>
          </p:cNvPr>
          <p:cNvSpPr>
            <a:spLocks noGrp="1"/>
          </p:cNvSpPr>
          <p:nvPr>
            <p:ph type="body" sz="quarter" idx="47" hasCustomPrompt="1"/>
          </p:nvPr>
        </p:nvSpPr>
        <p:spPr>
          <a:xfrm>
            <a:off x="4663353" y="7426436"/>
            <a:ext cx="1601096" cy="1606646"/>
          </a:xfrm>
          <a:prstGeom prst="round2DiagRect">
            <a:avLst>
              <a:gd name="adj1" fmla="val 36276"/>
              <a:gd name="adj2" fmla="val 0"/>
            </a:avLst>
          </a:prstGeom>
          <a:solidFill>
            <a:schemeClr val="accent1"/>
          </a:solidFill>
        </p:spPr>
        <p:txBody>
          <a:bodyPr anchor="b" anchorCtr="0">
            <a:normAutofit/>
          </a:bodyPr>
          <a:lstStyle>
            <a:lvl1pPr>
              <a:defRPr sz="1800">
                <a:solidFill>
                  <a:schemeClr val="bg1"/>
                </a:solidFill>
                <a:latin typeface="+mn-lt"/>
              </a:defRPr>
            </a:lvl1pPr>
          </a:lstStyle>
          <a:p>
            <a:pPr lvl="0"/>
            <a:r>
              <a:rPr lang="nl-NL"/>
              <a:t>Naam</a:t>
            </a:r>
          </a:p>
        </p:txBody>
      </p:sp>
      <p:sp>
        <p:nvSpPr>
          <p:cNvPr id="75" name="Tijdelijke aanduiding voor tekst 16">
            <a:extLst>
              <a:ext uri="{FF2B5EF4-FFF2-40B4-BE49-F238E27FC236}">
                <a16:creationId xmlns:a16="http://schemas.microsoft.com/office/drawing/2014/main" id="{54DBCFA7-04EC-4945-A983-C67216E4D077}"/>
              </a:ext>
            </a:extLst>
          </p:cNvPr>
          <p:cNvSpPr>
            <a:spLocks noGrp="1"/>
          </p:cNvSpPr>
          <p:nvPr>
            <p:ph type="body" sz="quarter" idx="48" hasCustomPrompt="1"/>
          </p:nvPr>
        </p:nvSpPr>
        <p:spPr>
          <a:xfrm>
            <a:off x="8436111" y="7426436"/>
            <a:ext cx="1601096" cy="1606646"/>
          </a:xfrm>
          <a:prstGeom prst="round2DiagRect">
            <a:avLst>
              <a:gd name="adj1" fmla="val 36276"/>
              <a:gd name="adj2" fmla="val 0"/>
            </a:avLst>
          </a:prstGeom>
          <a:solidFill>
            <a:schemeClr val="accent5"/>
          </a:solidFill>
        </p:spPr>
        <p:txBody>
          <a:bodyPr anchor="b" anchorCtr="0">
            <a:normAutofit/>
          </a:bodyPr>
          <a:lstStyle>
            <a:lvl1pPr>
              <a:defRPr sz="1800">
                <a:solidFill>
                  <a:schemeClr val="bg1"/>
                </a:solidFill>
                <a:latin typeface="+mn-lt"/>
              </a:defRPr>
            </a:lvl1pPr>
          </a:lstStyle>
          <a:p>
            <a:pPr lvl="0"/>
            <a:r>
              <a:rPr lang="nl-NL"/>
              <a:t>Naam</a:t>
            </a:r>
          </a:p>
        </p:txBody>
      </p:sp>
      <p:sp>
        <p:nvSpPr>
          <p:cNvPr id="76" name="Tijdelijke aanduiding voor tekst 16">
            <a:extLst>
              <a:ext uri="{FF2B5EF4-FFF2-40B4-BE49-F238E27FC236}">
                <a16:creationId xmlns:a16="http://schemas.microsoft.com/office/drawing/2014/main" id="{4C9750C9-C942-4FC4-86DB-BE13B23FB947}"/>
              </a:ext>
            </a:extLst>
          </p:cNvPr>
          <p:cNvSpPr>
            <a:spLocks noGrp="1"/>
          </p:cNvSpPr>
          <p:nvPr>
            <p:ph type="body" sz="quarter" idx="49" hasCustomPrompt="1"/>
          </p:nvPr>
        </p:nvSpPr>
        <p:spPr>
          <a:xfrm>
            <a:off x="12208869" y="7426436"/>
            <a:ext cx="1601096" cy="1606646"/>
          </a:xfrm>
          <a:prstGeom prst="round2DiagRect">
            <a:avLst>
              <a:gd name="adj1" fmla="val 36276"/>
              <a:gd name="adj2" fmla="val 0"/>
            </a:avLst>
          </a:prstGeom>
          <a:solidFill>
            <a:schemeClr val="accent2"/>
          </a:solidFill>
        </p:spPr>
        <p:txBody>
          <a:bodyPr anchor="b" anchorCtr="0">
            <a:normAutofit/>
          </a:bodyPr>
          <a:lstStyle>
            <a:lvl1pPr>
              <a:defRPr sz="1800">
                <a:solidFill>
                  <a:schemeClr val="tx1"/>
                </a:solidFill>
                <a:latin typeface="+mn-lt"/>
              </a:defRPr>
            </a:lvl1pPr>
          </a:lstStyle>
          <a:p>
            <a:pPr lvl="0"/>
            <a:r>
              <a:rPr lang="nl-NL"/>
              <a:t>Naam</a:t>
            </a:r>
          </a:p>
        </p:txBody>
      </p:sp>
      <p:sp>
        <p:nvSpPr>
          <p:cNvPr id="77" name="Tijdelijke aanduiding voor tekst 16">
            <a:extLst>
              <a:ext uri="{FF2B5EF4-FFF2-40B4-BE49-F238E27FC236}">
                <a16:creationId xmlns:a16="http://schemas.microsoft.com/office/drawing/2014/main" id="{F61F0CFD-C77B-4DC6-91C0-B78E34EC7CEA}"/>
              </a:ext>
            </a:extLst>
          </p:cNvPr>
          <p:cNvSpPr>
            <a:spLocks noGrp="1"/>
          </p:cNvSpPr>
          <p:nvPr>
            <p:ph type="body" sz="quarter" idx="50" hasCustomPrompt="1"/>
          </p:nvPr>
        </p:nvSpPr>
        <p:spPr>
          <a:xfrm>
            <a:off x="890595" y="11397284"/>
            <a:ext cx="1601096" cy="1606646"/>
          </a:xfrm>
          <a:prstGeom prst="round2DiagRect">
            <a:avLst>
              <a:gd name="adj1" fmla="val 36276"/>
              <a:gd name="adj2" fmla="val 0"/>
            </a:avLst>
          </a:prstGeom>
          <a:solidFill>
            <a:schemeClr val="accent2"/>
          </a:solidFill>
        </p:spPr>
        <p:txBody>
          <a:bodyPr anchor="b" anchorCtr="0">
            <a:normAutofit/>
          </a:bodyPr>
          <a:lstStyle>
            <a:lvl1pPr>
              <a:defRPr sz="1800">
                <a:solidFill>
                  <a:schemeClr val="tx1"/>
                </a:solidFill>
                <a:latin typeface="+mn-lt"/>
              </a:defRPr>
            </a:lvl1pPr>
          </a:lstStyle>
          <a:p>
            <a:pPr lvl="0"/>
            <a:r>
              <a:rPr lang="nl-NL"/>
              <a:t>Naam</a:t>
            </a:r>
          </a:p>
        </p:txBody>
      </p:sp>
      <p:sp>
        <p:nvSpPr>
          <p:cNvPr id="78" name="Tijdelijke aanduiding voor tekst 16">
            <a:extLst>
              <a:ext uri="{FF2B5EF4-FFF2-40B4-BE49-F238E27FC236}">
                <a16:creationId xmlns:a16="http://schemas.microsoft.com/office/drawing/2014/main" id="{1ADAD69A-A98C-4148-96B0-018F906DEC87}"/>
              </a:ext>
            </a:extLst>
          </p:cNvPr>
          <p:cNvSpPr>
            <a:spLocks noGrp="1"/>
          </p:cNvSpPr>
          <p:nvPr>
            <p:ph type="body" sz="quarter" idx="51" hasCustomPrompt="1"/>
          </p:nvPr>
        </p:nvSpPr>
        <p:spPr>
          <a:xfrm>
            <a:off x="4663353" y="11397284"/>
            <a:ext cx="1601096" cy="1606646"/>
          </a:xfrm>
          <a:prstGeom prst="round2DiagRect">
            <a:avLst>
              <a:gd name="adj1" fmla="val 36276"/>
              <a:gd name="adj2" fmla="val 0"/>
            </a:avLst>
          </a:prstGeom>
          <a:solidFill>
            <a:schemeClr val="accent4"/>
          </a:solidFill>
        </p:spPr>
        <p:txBody>
          <a:bodyPr anchor="b" anchorCtr="0">
            <a:normAutofit/>
          </a:bodyPr>
          <a:lstStyle>
            <a:lvl1pPr>
              <a:defRPr sz="1800">
                <a:solidFill>
                  <a:schemeClr val="tx1"/>
                </a:solidFill>
                <a:latin typeface="+mn-lt"/>
              </a:defRPr>
            </a:lvl1pPr>
          </a:lstStyle>
          <a:p>
            <a:pPr lvl="0"/>
            <a:r>
              <a:rPr lang="nl-NL"/>
              <a:t>Naam</a:t>
            </a:r>
          </a:p>
        </p:txBody>
      </p:sp>
      <p:sp>
        <p:nvSpPr>
          <p:cNvPr id="79" name="Tijdelijke aanduiding voor tekst 16">
            <a:extLst>
              <a:ext uri="{FF2B5EF4-FFF2-40B4-BE49-F238E27FC236}">
                <a16:creationId xmlns:a16="http://schemas.microsoft.com/office/drawing/2014/main" id="{9797DDC6-B445-435F-9881-246B875F8F36}"/>
              </a:ext>
            </a:extLst>
          </p:cNvPr>
          <p:cNvSpPr>
            <a:spLocks noGrp="1"/>
          </p:cNvSpPr>
          <p:nvPr>
            <p:ph type="body" sz="quarter" idx="52" hasCustomPrompt="1"/>
          </p:nvPr>
        </p:nvSpPr>
        <p:spPr>
          <a:xfrm>
            <a:off x="8436111" y="11397284"/>
            <a:ext cx="1601096" cy="1606646"/>
          </a:xfrm>
          <a:prstGeom prst="round2DiagRect">
            <a:avLst>
              <a:gd name="adj1" fmla="val 36276"/>
              <a:gd name="adj2" fmla="val 0"/>
            </a:avLst>
          </a:prstGeom>
          <a:solidFill>
            <a:schemeClr val="accent3"/>
          </a:solidFill>
        </p:spPr>
        <p:txBody>
          <a:bodyPr anchor="b" anchorCtr="0">
            <a:normAutofit/>
          </a:bodyPr>
          <a:lstStyle>
            <a:lvl1pPr>
              <a:defRPr sz="1800">
                <a:solidFill>
                  <a:schemeClr val="tx1"/>
                </a:solidFill>
                <a:latin typeface="+mn-lt"/>
              </a:defRPr>
            </a:lvl1pPr>
          </a:lstStyle>
          <a:p>
            <a:pPr lvl="0"/>
            <a:r>
              <a:rPr lang="nl-NL"/>
              <a:t>Naam</a:t>
            </a:r>
          </a:p>
        </p:txBody>
      </p:sp>
      <p:sp>
        <p:nvSpPr>
          <p:cNvPr id="80" name="Tijdelijke aanduiding voor tekst 16">
            <a:extLst>
              <a:ext uri="{FF2B5EF4-FFF2-40B4-BE49-F238E27FC236}">
                <a16:creationId xmlns:a16="http://schemas.microsoft.com/office/drawing/2014/main" id="{AFAE847E-864F-431A-BD3F-0C85ABBB75B0}"/>
              </a:ext>
            </a:extLst>
          </p:cNvPr>
          <p:cNvSpPr>
            <a:spLocks noGrp="1"/>
          </p:cNvSpPr>
          <p:nvPr>
            <p:ph type="body" sz="quarter" idx="53" hasCustomPrompt="1"/>
          </p:nvPr>
        </p:nvSpPr>
        <p:spPr>
          <a:xfrm>
            <a:off x="12208869" y="11397284"/>
            <a:ext cx="1601096" cy="1606646"/>
          </a:xfrm>
          <a:prstGeom prst="round2DiagRect">
            <a:avLst>
              <a:gd name="adj1" fmla="val 36276"/>
              <a:gd name="adj2" fmla="val 0"/>
            </a:avLst>
          </a:prstGeom>
          <a:solidFill>
            <a:schemeClr val="accent2"/>
          </a:solidFill>
        </p:spPr>
        <p:txBody>
          <a:bodyPr anchor="b" anchorCtr="0">
            <a:normAutofit/>
          </a:bodyPr>
          <a:lstStyle>
            <a:lvl1pPr>
              <a:defRPr sz="1800">
                <a:solidFill>
                  <a:schemeClr val="tx1"/>
                </a:solidFill>
                <a:latin typeface="+mn-lt"/>
              </a:defRPr>
            </a:lvl1pPr>
          </a:lstStyle>
          <a:p>
            <a:pPr lvl="0"/>
            <a:r>
              <a:rPr lang="nl-NL"/>
              <a:t>Naam</a:t>
            </a:r>
          </a:p>
        </p:txBody>
      </p:sp>
      <p:sp>
        <p:nvSpPr>
          <p:cNvPr id="81" name="Tijdelijke aanduiding voor tekst 16">
            <a:extLst>
              <a:ext uri="{FF2B5EF4-FFF2-40B4-BE49-F238E27FC236}">
                <a16:creationId xmlns:a16="http://schemas.microsoft.com/office/drawing/2014/main" id="{8A4A2EA6-4A5E-4B2D-9254-C999369FD4A2}"/>
              </a:ext>
            </a:extLst>
          </p:cNvPr>
          <p:cNvSpPr>
            <a:spLocks noGrp="1"/>
          </p:cNvSpPr>
          <p:nvPr>
            <p:ph type="body" sz="quarter" idx="54" hasCustomPrompt="1"/>
          </p:nvPr>
        </p:nvSpPr>
        <p:spPr>
          <a:xfrm>
            <a:off x="15981627" y="7426436"/>
            <a:ext cx="1601096" cy="1606646"/>
          </a:xfrm>
          <a:prstGeom prst="round2DiagRect">
            <a:avLst>
              <a:gd name="adj1" fmla="val 36276"/>
              <a:gd name="adj2" fmla="val 0"/>
            </a:avLst>
          </a:prstGeom>
          <a:solidFill>
            <a:schemeClr val="accent4"/>
          </a:solidFill>
        </p:spPr>
        <p:txBody>
          <a:bodyPr anchor="b" anchorCtr="0">
            <a:normAutofit/>
          </a:bodyPr>
          <a:lstStyle>
            <a:lvl1pPr>
              <a:defRPr sz="1800">
                <a:solidFill>
                  <a:schemeClr val="tx1"/>
                </a:solidFill>
                <a:latin typeface="+mn-lt"/>
              </a:defRPr>
            </a:lvl1pPr>
          </a:lstStyle>
          <a:p>
            <a:pPr lvl="0"/>
            <a:r>
              <a:rPr lang="nl-NL"/>
              <a:t>Naam</a:t>
            </a:r>
          </a:p>
        </p:txBody>
      </p:sp>
      <p:sp>
        <p:nvSpPr>
          <p:cNvPr id="82" name="Tijdelijke aanduiding voor tekst 16">
            <a:extLst>
              <a:ext uri="{FF2B5EF4-FFF2-40B4-BE49-F238E27FC236}">
                <a16:creationId xmlns:a16="http://schemas.microsoft.com/office/drawing/2014/main" id="{79FA4C7F-4C64-489A-B20C-B281A788E383}"/>
              </a:ext>
            </a:extLst>
          </p:cNvPr>
          <p:cNvSpPr>
            <a:spLocks noGrp="1"/>
          </p:cNvSpPr>
          <p:nvPr>
            <p:ph type="body" sz="quarter" idx="55" hasCustomPrompt="1"/>
          </p:nvPr>
        </p:nvSpPr>
        <p:spPr>
          <a:xfrm>
            <a:off x="19754386" y="7426436"/>
            <a:ext cx="1601096" cy="1606646"/>
          </a:xfrm>
          <a:prstGeom prst="round2DiagRect">
            <a:avLst>
              <a:gd name="adj1" fmla="val 36276"/>
              <a:gd name="adj2" fmla="val 0"/>
            </a:avLst>
          </a:prstGeom>
          <a:solidFill>
            <a:schemeClr val="accent5"/>
          </a:solidFill>
        </p:spPr>
        <p:txBody>
          <a:bodyPr anchor="b" anchorCtr="0">
            <a:normAutofit/>
          </a:bodyPr>
          <a:lstStyle>
            <a:lvl1pPr>
              <a:defRPr sz="1800">
                <a:solidFill>
                  <a:schemeClr val="bg1"/>
                </a:solidFill>
                <a:latin typeface="+mn-lt"/>
              </a:defRPr>
            </a:lvl1pPr>
          </a:lstStyle>
          <a:p>
            <a:pPr lvl="0"/>
            <a:r>
              <a:rPr lang="nl-NL"/>
              <a:t>Naam</a:t>
            </a:r>
          </a:p>
        </p:txBody>
      </p:sp>
      <p:sp>
        <p:nvSpPr>
          <p:cNvPr id="83" name="Tijdelijke aanduiding voor tekst 16">
            <a:extLst>
              <a:ext uri="{FF2B5EF4-FFF2-40B4-BE49-F238E27FC236}">
                <a16:creationId xmlns:a16="http://schemas.microsoft.com/office/drawing/2014/main" id="{951786A5-7AF9-4A6B-862F-7DB95C48A990}"/>
              </a:ext>
            </a:extLst>
          </p:cNvPr>
          <p:cNvSpPr>
            <a:spLocks noGrp="1"/>
          </p:cNvSpPr>
          <p:nvPr>
            <p:ph type="body" sz="quarter" idx="56" hasCustomPrompt="1"/>
          </p:nvPr>
        </p:nvSpPr>
        <p:spPr>
          <a:xfrm>
            <a:off x="15981627" y="11397284"/>
            <a:ext cx="1601096" cy="1606646"/>
          </a:xfrm>
          <a:prstGeom prst="round2DiagRect">
            <a:avLst>
              <a:gd name="adj1" fmla="val 36276"/>
              <a:gd name="adj2" fmla="val 0"/>
            </a:avLst>
          </a:prstGeom>
          <a:solidFill>
            <a:schemeClr val="accent3"/>
          </a:solidFill>
        </p:spPr>
        <p:txBody>
          <a:bodyPr anchor="b" anchorCtr="0">
            <a:normAutofit/>
          </a:bodyPr>
          <a:lstStyle>
            <a:lvl1pPr>
              <a:defRPr sz="1800">
                <a:solidFill>
                  <a:schemeClr val="tx1"/>
                </a:solidFill>
                <a:latin typeface="+mn-lt"/>
              </a:defRPr>
            </a:lvl1pPr>
          </a:lstStyle>
          <a:p>
            <a:pPr lvl="0"/>
            <a:r>
              <a:rPr lang="nl-NL"/>
              <a:t>Naam</a:t>
            </a:r>
          </a:p>
        </p:txBody>
      </p:sp>
      <p:sp>
        <p:nvSpPr>
          <p:cNvPr id="84" name="Tijdelijke aanduiding voor tekst 16">
            <a:extLst>
              <a:ext uri="{FF2B5EF4-FFF2-40B4-BE49-F238E27FC236}">
                <a16:creationId xmlns:a16="http://schemas.microsoft.com/office/drawing/2014/main" id="{F6531E7D-FE5E-4882-80C6-C8EC26A28119}"/>
              </a:ext>
            </a:extLst>
          </p:cNvPr>
          <p:cNvSpPr>
            <a:spLocks noGrp="1"/>
          </p:cNvSpPr>
          <p:nvPr>
            <p:ph type="body" sz="quarter" idx="57" hasCustomPrompt="1"/>
          </p:nvPr>
        </p:nvSpPr>
        <p:spPr>
          <a:xfrm>
            <a:off x="19754386" y="11397284"/>
            <a:ext cx="1601096" cy="1606646"/>
          </a:xfrm>
          <a:prstGeom prst="round2DiagRect">
            <a:avLst>
              <a:gd name="adj1" fmla="val 36276"/>
              <a:gd name="adj2" fmla="val 0"/>
            </a:avLst>
          </a:prstGeom>
          <a:solidFill>
            <a:schemeClr val="accent1"/>
          </a:solidFill>
        </p:spPr>
        <p:txBody>
          <a:bodyPr anchor="b" anchorCtr="0">
            <a:normAutofit/>
          </a:bodyPr>
          <a:lstStyle>
            <a:lvl1pPr>
              <a:defRPr sz="1800">
                <a:solidFill>
                  <a:schemeClr val="bg1"/>
                </a:solidFill>
                <a:latin typeface="+mn-lt"/>
              </a:defRPr>
            </a:lvl1pPr>
          </a:lstStyle>
          <a:p>
            <a:pPr lvl="0"/>
            <a:r>
              <a:rPr lang="nl-NL"/>
              <a:t>Naam</a:t>
            </a:r>
          </a:p>
        </p:txBody>
      </p:sp>
      <p:sp>
        <p:nvSpPr>
          <p:cNvPr id="42" name="Tijdelijke aanduiding voor datum 4">
            <a:extLst>
              <a:ext uri="{FF2B5EF4-FFF2-40B4-BE49-F238E27FC236}">
                <a16:creationId xmlns:a16="http://schemas.microsoft.com/office/drawing/2014/main" id="{A269BD71-7887-47B1-A76A-8B23708D6348}"/>
              </a:ext>
            </a:extLst>
          </p:cNvPr>
          <p:cNvSpPr>
            <a:spLocks noGrp="1"/>
          </p:cNvSpPr>
          <p:nvPr>
            <p:ph type="dt" sz="half" idx="58"/>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43" name="Tijdelijke aanduiding voor voettekst 4">
            <a:extLst>
              <a:ext uri="{FF2B5EF4-FFF2-40B4-BE49-F238E27FC236}">
                <a16:creationId xmlns:a16="http://schemas.microsoft.com/office/drawing/2014/main" id="{6A4070D8-396B-47BD-B59A-C3959F25B200}"/>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
        <p:nvSpPr>
          <p:cNvPr id="41" name="Tijdelijke aanduiding voor afbeelding 4">
            <a:extLst>
              <a:ext uri="{FF2B5EF4-FFF2-40B4-BE49-F238E27FC236}">
                <a16:creationId xmlns:a16="http://schemas.microsoft.com/office/drawing/2014/main" id="{38B8FF1F-2BC3-484F-8DA5-CEF2AAD86EDB}"/>
              </a:ext>
            </a:extLst>
          </p:cNvPr>
          <p:cNvSpPr>
            <a:spLocks noGrp="1"/>
          </p:cNvSpPr>
          <p:nvPr>
            <p:ph type="pic" sz="quarter" idx="74" hasCustomPrompt="1"/>
          </p:nvPr>
        </p:nvSpPr>
        <p:spPr>
          <a:xfrm>
            <a:off x="4663353" y="1627227"/>
            <a:ext cx="3535101" cy="3545103"/>
          </a:xfrm>
          <a:prstGeom prst="round2DiagRect">
            <a:avLst>
              <a:gd name="adj1" fmla="val 42491"/>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52" name="Tijdelijke aanduiding voor tekst 16">
            <a:extLst>
              <a:ext uri="{FF2B5EF4-FFF2-40B4-BE49-F238E27FC236}">
                <a16:creationId xmlns:a16="http://schemas.microsoft.com/office/drawing/2014/main" id="{A16AB5AA-BBB4-45A7-89C0-11DDBB698652}"/>
              </a:ext>
            </a:extLst>
          </p:cNvPr>
          <p:cNvSpPr>
            <a:spLocks noGrp="1"/>
          </p:cNvSpPr>
          <p:nvPr>
            <p:ph type="body" sz="quarter" idx="75" hasCustomPrompt="1"/>
          </p:nvPr>
        </p:nvSpPr>
        <p:spPr>
          <a:xfrm>
            <a:off x="4663353" y="3565684"/>
            <a:ext cx="1601096" cy="1606646"/>
          </a:xfrm>
          <a:prstGeom prst="round2DiagRect">
            <a:avLst>
              <a:gd name="adj1" fmla="val 36276"/>
              <a:gd name="adj2" fmla="val 0"/>
            </a:avLst>
          </a:prstGeom>
          <a:solidFill>
            <a:schemeClr val="accent5"/>
          </a:solidFill>
        </p:spPr>
        <p:txBody>
          <a:bodyPr anchor="b" anchorCtr="0">
            <a:normAutofit/>
          </a:bodyPr>
          <a:lstStyle>
            <a:lvl1pPr>
              <a:defRPr sz="1800">
                <a:solidFill>
                  <a:schemeClr val="bg1"/>
                </a:solidFill>
                <a:latin typeface="+mn-lt"/>
              </a:defRPr>
            </a:lvl1pPr>
          </a:lstStyle>
          <a:p>
            <a:pPr lvl="0"/>
            <a:r>
              <a:rPr lang="nl-NL"/>
              <a:t>Naam</a:t>
            </a:r>
          </a:p>
        </p:txBody>
      </p:sp>
    </p:spTree>
    <p:extLst>
      <p:ext uri="{BB962C8B-B14F-4D97-AF65-F5344CB8AC3E}">
        <p14:creationId xmlns:p14="http://schemas.microsoft.com/office/powerpoint/2010/main" val="2332875930"/>
      </p:ext>
    </p:extLst>
  </p:cSld>
  <p:clrMapOvr>
    <a:masterClrMapping/>
  </p:clrMapOvr>
  <p:transition spd="med"/>
  <p:extLst>
    <p:ext uri="{DCECCB84-F9BA-43D5-87BE-67443E8EF086}">
      <p15:sldGuideLst xmlns:p15="http://schemas.microsoft.com/office/powerpoint/2012/main">
        <p15:guide id="1" orient="horz" pos="4320" userDrawn="1">
          <p15:clr>
            <a:srgbClr val="FBAE40"/>
          </p15:clr>
        </p15:guide>
        <p15:guide id="2" pos="768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Klantlogos / partnerlogos grijs">
    <p:bg>
      <p:bgPr>
        <a:solidFill>
          <a:schemeClr val="bg1">
            <a:lumMod val="95000"/>
          </a:schemeClr>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B9B63A-A661-4217-A444-F233E10F82B5}"/>
              </a:ext>
            </a:extLst>
          </p:cNvPr>
          <p:cNvSpPr>
            <a:spLocks noGrp="1"/>
          </p:cNvSpPr>
          <p:nvPr>
            <p:ph type="title" hasCustomPrompt="1"/>
          </p:nvPr>
        </p:nvSpPr>
        <p:spPr/>
        <p:txBody>
          <a:bodyPr/>
          <a:lstStyle>
            <a:lvl1pPr algn="ctr">
              <a:defRPr b="0">
                <a:latin typeface="+mn-lt"/>
              </a:defRPr>
            </a:lvl1pPr>
          </a:lstStyle>
          <a:p>
            <a:r>
              <a:rPr lang="nl-NL"/>
              <a:t>Waar we met trots mee samen en voor werken</a:t>
            </a:r>
          </a:p>
        </p:txBody>
      </p:sp>
      <p:sp>
        <p:nvSpPr>
          <p:cNvPr id="3" name="Tijdelijke aanduiding voor dianummer 2">
            <a:extLst>
              <a:ext uri="{FF2B5EF4-FFF2-40B4-BE49-F238E27FC236}">
                <a16:creationId xmlns:a16="http://schemas.microsoft.com/office/drawing/2014/main" id="{A7FCD538-5A12-4A25-8F46-4ACCC38D5250}"/>
              </a:ext>
            </a:extLst>
          </p:cNvPr>
          <p:cNvSpPr>
            <a:spLocks noGrp="1"/>
          </p:cNvSpPr>
          <p:nvPr>
            <p:ph type="sldNum" sz="quarter" idx="10"/>
          </p:nvPr>
        </p:nvSpPr>
        <p:spPr/>
        <p:txBody>
          <a:bodyPr/>
          <a:lstStyle/>
          <a:p>
            <a:fld id="{86CB4B4D-7CA3-9044-876B-883B54F8677D}" type="slidenum">
              <a:rPr lang="nl-NL" smtClean="0"/>
              <a:pPr/>
              <a:t>‹nr.›</a:t>
            </a:fld>
            <a:endParaRPr lang="nl-NL"/>
          </a:p>
        </p:txBody>
      </p:sp>
      <p:sp>
        <p:nvSpPr>
          <p:cNvPr id="7" name="Tijdelijke aanduiding voor afbeelding 6">
            <a:extLst>
              <a:ext uri="{FF2B5EF4-FFF2-40B4-BE49-F238E27FC236}">
                <a16:creationId xmlns:a16="http://schemas.microsoft.com/office/drawing/2014/main" id="{A36A292C-E1D0-46AC-B0E3-FB3E061F2CF5}"/>
              </a:ext>
            </a:extLst>
          </p:cNvPr>
          <p:cNvSpPr>
            <a:spLocks noGrp="1"/>
          </p:cNvSpPr>
          <p:nvPr>
            <p:ph type="pic" sz="quarter" idx="13" hasCustomPrompt="1"/>
          </p:nvPr>
        </p:nvSpPr>
        <p:spPr>
          <a:xfrm>
            <a:off x="1712658" y="5237231"/>
            <a:ext cx="4927023" cy="2860675"/>
          </a:xfrm>
        </p:spPr>
        <p:txBody>
          <a:bodyPr/>
          <a:lstStyle/>
          <a:p>
            <a:r>
              <a:rPr lang="nl-NL"/>
              <a:t> </a:t>
            </a:r>
          </a:p>
        </p:txBody>
      </p:sp>
      <p:sp>
        <p:nvSpPr>
          <p:cNvPr id="8" name="Tijdelijke aanduiding voor afbeelding 6">
            <a:extLst>
              <a:ext uri="{FF2B5EF4-FFF2-40B4-BE49-F238E27FC236}">
                <a16:creationId xmlns:a16="http://schemas.microsoft.com/office/drawing/2014/main" id="{9934FC1F-BC41-44A2-B200-F3E64DF3BD28}"/>
              </a:ext>
            </a:extLst>
          </p:cNvPr>
          <p:cNvSpPr>
            <a:spLocks noGrp="1"/>
          </p:cNvSpPr>
          <p:nvPr>
            <p:ph type="pic" sz="quarter" idx="14" hasCustomPrompt="1"/>
          </p:nvPr>
        </p:nvSpPr>
        <p:spPr>
          <a:xfrm>
            <a:off x="18250477" y="5237231"/>
            <a:ext cx="4927023" cy="2860675"/>
          </a:xfrm>
        </p:spPr>
        <p:txBody>
          <a:bodyPr/>
          <a:lstStyle/>
          <a:p>
            <a:r>
              <a:rPr lang="nl-NL"/>
              <a:t> </a:t>
            </a:r>
          </a:p>
        </p:txBody>
      </p:sp>
      <p:sp>
        <p:nvSpPr>
          <p:cNvPr id="9" name="Tijdelijke aanduiding voor afbeelding 6">
            <a:extLst>
              <a:ext uri="{FF2B5EF4-FFF2-40B4-BE49-F238E27FC236}">
                <a16:creationId xmlns:a16="http://schemas.microsoft.com/office/drawing/2014/main" id="{7FB1A6FA-8DF0-4ABB-A553-7B25B4D61AAE}"/>
              </a:ext>
            </a:extLst>
          </p:cNvPr>
          <p:cNvSpPr>
            <a:spLocks noGrp="1"/>
          </p:cNvSpPr>
          <p:nvPr>
            <p:ph type="pic" sz="quarter" idx="15" hasCustomPrompt="1"/>
          </p:nvPr>
        </p:nvSpPr>
        <p:spPr>
          <a:xfrm>
            <a:off x="7225264" y="5237231"/>
            <a:ext cx="4927023" cy="2860675"/>
          </a:xfrm>
        </p:spPr>
        <p:txBody>
          <a:bodyPr/>
          <a:lstStyle/>
          <a:p>
            <a:r>
              <a:rPr lang="nl-NL"/>
              <a:t> </a:t>
            </a:r>
          </a:p>
        </p:txBody>
      </p:sp>
      <p:sp>
        <p:nvSpPr>
          <p:cNvPr id="10" name="Tijdelijke aanduiding voor afbeelding 6">
            <a:extLst>
              <a:ext uri="{FF2B5EF4-FFF2-40B4-BE49-F238E27FC236}">
                <a16:creationId xmlns:a16="http://schemas.microsoft.com/office/drawing/2014/main" id="{E20E2644-8BE8-4DC9-8BC3-45C93B529A46}"/>
              </a:ext>
            </a:extLst>
          </p:cNvPr>
          <p:cNvSpPr>
            <a:spLocks noGrp="1"/>
          </p:cNvSpPr>
          <p:nvPr>
            <p:ph type="pic" sz="quarter" idx="16" hasCustomPrompt="1"/>
          </p:nvPr>
        </p:nvSpPr>
        <p:spPr>
          <a:xfrm>
            <a:off x="12737870" y="5237231"/>
            <a:ext cx="4927023" cy="2860675"/>
          </a:xfrm>
        </p:spPr>
        <p:txBody>
          <a:bodyPr/>
          <a:lstStyle/>
          <a:p>
            <a:r>
              <a:rPr lang="nl-NL"/>
              <a:t> </a:t>
            </a:r>
          </a:p>
        </p:txBody>
      </p:sp>
      <p:sp>
        <p:nvSpPr>
          <p:cNvPr id="15" name="Tijdelijke aanduiding voor afbeelding 6">
            <a:extLst>
              <a:ext uri="{FF2B5EF4-FFF2-40B4-BE49-F238E27FC236}">
                <a16:creationId xmlns:a16="http://schemas.microsoft.com/office/drawing/2014/main" id="{31E4D92A-AF86-43A9-A743-104A423C1745}"/>
              </a:ext>
            </a:extLst>
          </p:cNvPr>
          <p:cNvSpPr>
            <a:spLocks noGrp="1"/>
          </p:cNvSpPr>
          <p:nvPr>
            <p:ph type="pic" sz="quarter" idx="17" hasCustomPrompt="1"/>
          </p:nvPr>
        </p:nvSpPr>
        <p:spPr>
          <a:xfrm>
            <a:off x="1705816" y="8877130"/>
            <a:ext cx="4927023" cy="2860675"/>
          </a:xfrm>
        </p:spPr>
        <p:txBody>
          <a:bodyPr/>
          <a:lstStyle/>
          <a:p>
            <a:r>
              <a:rPr lang="nl-NL"/>
              <a:t> </a:t>
            </a:r>
          </a:p>
        </p:txBody>
      </p:sp>
      <p:sp>
        <p:nvSpPr>
          <p:cNvPr id="16" name="Tijdelijke aanduiding voor afbeelding 6">
            <a:extLst>
              <a:ext uri="{FF2B5EF4-FFF2-40B4-BE49-F238E27FC236}">
                <a16:creationId xmlns:a16="http://schemas.microsoft.com/office/drawing/2014/main" id="{1D120308-830A-4C13-87DF-1E9F7A36274F}"/>
              </a:ext>
            </a:extLst>
          </p:cNvPr>
          <p:cNvSpPr>
            <a:spLocks noGrp="1"/>
          </p:cNvSpPr>
          <p:nvPr>
            <p:ph type="pic" sz="quarter" idx="18" hasCustomPrompt="1"/>
          </p:nvPr>
        </p:nvSpPr>
        <p:spPr>
          <a:xfrm>
            <a:off x="18243635" y="8877130"/>
            <a:ext cx="4927023" cy="2860675"/>
          </a:xfrm>
        </p:spPr>
        <p:txBody>
          <a:bodyPr/>
          <a:lstStyle/>
          <a:p>
            <a:r>
              <a:rPr lang="nl-NL"/>
              <a:t> </a:t>
            </a:r>
          </a:p>
        </p:txBody>
      </p:sp>
      <p:sp>
        <p:nvSpPr>
          <p:cNvPr id="17" name="Tijdelijke aanduiding voor afbeelding 6">
            <a:extLst>
              <a:ext uri="{FF2B5EF4-FFF2-40B4-BE49-F238E27FC236}">
                <a16:creationId xmlns:a16="http://schemas.microsoft.com/office/drawing/2014/main" id="{3883F612-1B06-4822-866A-B1440C58AA3F}"/>
              </a:ext>
            </a:extLst>
          </p:cNvPr>
          <p:cNvSpPr>
            <a:spLocks noGrp="1"/>
          </p:cNvSpPr>
          <p:nvPr>
            <p:ph type="pic" sz="quarter" idx="19" hasCustomPrompt="1"/>
          </p:nvPr>
        </p:nvSpPr>
        <p:spPr>
          <a:xfrm>
            <a:off x="7218422" y="8877130"/>
            <a:ext cx="4927023" cy="2860675"/>
          </a:xfrm>
        </p:spPr>
        <p:txBody>
          <a:bodyPr/>
          <a:lstStyle/>
          <a:p>
            <a:r>
              <a:rPr lang="nl-NL"/>
              <a:t> </a:t>
            </a:r>
          </a:p>
        </p:txBody>
      </p:sp>
      <p:sp>
        <p:nvSpPr>
          <p:cNvPr id="18" name="Tijdelijke aanduiding voor afbeelding 6">
            <a:extLst>
              <a:ext uri="{FF2B5EF4-FFF2-40B4-BE49-F238E27FC236}">
                <a16:creationId xmlns:a16="http://schemas.microsoft.com/office/drawing/2014/main" id="{C48D043F-1F9F-4101-9A10-E896490CEF55}"/>
              </a:ext>
            </a:extLst>
          </p:cNvPr>
          <p:cNvSpPr>
            <a:spLocks noGrp="1"/>
          </p:cNvSpPr>
          <p:nvPr>
            <p:ph type="pic" sz="quarter" idx="20" hasCustomPrompt="1"/>
          </p:nvPr>
        </p:nvSpPr>
        <p:spPr>
          <a:xfrm>
            <a:off x="12731028" y="8877130"/>
            <a:ext cx="4927023" cy="2860675"/>
          </a:xfrm>
        </p:spPr>
        <p:txBody>
          <a:bodyPr/>
          <a:lstStyle/>
          <a:p>
            <a:r>
              <a:rPr lang="nl-NL"/>
              <a:t> </a:t>
            </a:r>
          </a:p>
        </p:txBody>
      </p:sp>
      <p:sp>
        <p:nvSpPr>
          <p:cNvPr id="19" name="Tijdelijke aanduiding voor datum 4">
            <a:extLst>
              <a:ext uri="{FF2B5EF4-FFF2-40B4-BE49-F238E27FC236}">
                <a16:creationId xmlns:a16="http://schemas.microsoft.com/office/drawing/2014/main" id="{3F39E1FE-1EA4-44CF-9DE8-27F444CC519A}"/>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20" name="Tijdelijke aanduiding voor voettekst 4">
            <a:extLst>
              <a:ext uri="{FF2B5EF4-FFF2-40B4-BE49-F238E27FC236}">
                <a16:creationId xmlns:a16="http://schemas.microsoft.com/office/drawing/2014/main" id="{7EF672DA-A8EA-4FE3-A5AA-13B1EBD3062B}"/>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Tree>
    <p:extLst>
      <p:ext uri="{BB962C8B-B14F-4D97-AF65-F5344CB8AC3E}">
        <p14:creationId xmlns:p14="http://schemas.microsoft.com/office/powerpoint/2010/main" val="1967339057"/>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Klantlogos / partnerlogos cyaan">
    <p:bg>
      <p:bgPr>
        <a:solidFill>
          <a:schemeClr val="accent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B9B63A-A661-4217-A444-F233E10F82B5}"/>
              </a:ext>
            </a:extLst>
          </p:cNvPr>
          <p:cNvSpPr>
            <a:spLocks noGrp="1"/>
          </p:cNvSpPr>
          <p:nvPr>
            <p:ph type="title" hasCustomPrompt="1"/>
          </p:nvPr>
        </p:nvSpPr>
        <p:spPr/>
        <p:txBody>
          <a:bodyPr/>
          <a:lstStyle>
            <a:lvl1pPr algn="ctr">
              <a:defRPr b="0">
                <a:latin typeface="+mn-lt"/>
              </a:defRPr>
            </a:lvl1pPr>
          </a:lstStyle>
          <a:p>
            <a:r>
              <a:rPr lang="nl-NL"/>
              <a:t>Waar we met trots mee samen en voor werken</a:t>
            </a:r>
          </a:p>
        </p:txBody>
      </p:sp>
      <p:sp>
        <p:nvSpPr>
          <p:cNvPr id="3" name="Tijdelijke aanduiding voor dianummer 2">
            <a:extLst>
              <a:ext uri="{FF2B5EF4-FFF2-40B4-BE49-F238E27FC236}">
                <a16:creationId xmlns:a16="http://schemas.microsoft.com/office/drawing/2014/main" id="{A7FCD538-5A12-4A25-8F46-4ACCC38D5250}"/>
              </a:ext>
            </a:extLst>
          </p:cNvPr>
          <p:cNvSpPr>
            <a:spLocks noGrp="1"/>
          </p:cNvSpPr>
          <p:nvPr>
            <p:ph type="sldNum" sz="quarter" idx="10"/>
          </p:nvPr>
        </p:nvSpPr>
        <p:spPr/>
        <p:txBody>
          <a:bodyPr/>
          <a:lstStyle/>
          <a:p>
            <a:fld id="{86CB4B4D-7CA3-9044-876B-883B54F8677D}" type="slidenum">
              <a:rPr lang="nl-NL" smtClean="0"/>
              <a:pPr/>
              <a:t>‹nr.›</a:t>
            </a:fld>
            <a:endParaRPr lang="nl-NL"/>
          </a:p>
        </p:txBody>
      </p:sp>
      <p:sp>
        <p:nvSpPr>
          <p:cNvPr id="7" name="Tijdelijke aanduiding voor afbeelding 6">
            <a:extLst>
              <a:ext uri="{FF2B5EF4-FFF2-40B4-BE49-F238E27FC236}">
                <a16:creationId xmlns:a16="http://schemas.microsoft.com/office/drawing/2014/main" id="{A36A292C-E1D0-46AC-B0E3-FB3E061F2CF5}"/>
              </a:ext>
            </a:extLst>
          </p:cNvPr>
          <p:cNvSpPr>
            <a:spLocks noGrp="1"/>
          </p:cNvSpPr>
          <p:nvPr>
            <p:ph type="pic" sz="quarter" idx="13" hasCustomPrompt="1"/>
          </p:nvPr>
        </p:nvSpPr>
        <p:spPr>
          <a:xfrm>
            <a:off x="1712658" y="5237231"/>
            <a:ext cx="4927023" cy="2860675"/>
          </a:xfrm>
        </p:spPr>
        <p:txBody>
          <a:bodyPr/>
          <a:lstStyle/>
          <a:p>
            <a:r>
              <a:rPr lang="nl-NL"/>
              <a:t> </a:t>
            </a:r>
          </a:p>
        </p:txBody>
      </p:sp>
      <p:sp>
        <p:nvSpPr>
          <p:cNvPr id="8" name="Tijdelijke aanduiding voor afbeelding 6">
            <a:extLst>
              <a:ext uri="{FF2B5EF4-FFF2-40B4-BE49-F238E27FC236}">
                <a16:creationId xmlns:a16="http://schemas.microsoft.com/office/drawing/2014/main" id="{9934FC1F-BC41-44A2-B200-F3E64DF3BD28}"/>
              </a:ext>
            </a:extLst>
          </p:cNvPr>
          <p:cNvSpPr>
            <a:spLocks noGrp="1"/>
          </p:cNvSpPr>
          <p:nvPr>
            <p:ph type="pic" sz="quarter" idx="14" hasCustomPrompt="1"/>
          </p:nvPr>
        </p:nvSpPr>
        <p:spPr>
          <a:xfrm>
            <a:off x="18250477" y="5237231"/>
            <a:ext cx="4927023" cy="2860675"/>
          </a:xfrm>
        </p:spPr>
        <p:txBody>
          <a:bodyPr/>
          <a:lstStyle/>
          <a:p>
            <a:r>
              <a:rPr lang="nl-NL"/>
              <a:t> </a:t>
            </a:r>
          </a:p>
        </p:txBody>
      </p:sp>
      <p:sp>
        <p:nvSpPr>
          <p:cNvPr id="9" name="Tijdelijke aanduiding voor afbeelding 6">
            <a:extLst>
              <a:ext uri="{FF2B5EF4-FFF2-40B4-BE49-F238E27FC236}">
                <a16:creationId xmlns:a16="http://schemas.microsoft.com/office/drawing/2014/main" id="{7FB1A6FA-8DF0-4ABB-A553-7B25B4D61AAE}"/>
              </a:ext>
            </a:extLst>
          </p:cNvPr>
          <p:cNvSpPr>
            <a:spLocks noGrp="1"/>
          </p:cNvSpPr>
          <p:nvPr>
            <p:ph type="pic" sz="quarter" idx="15" hasCustomPrompt="1"/>
          </p:nvPr>
        </p:nvSpPr>
        <p:spPr>
          <a:xfrm>
            <a:off x="7225264" y="5237231"/>
            <a:ext cx="4927023" cy="2860675"/>
          </a:xfrm>
        </p:spPr>
        <p:txBody>
          <a:bodyPr/>
          <a:lstStyle/>
          <a:p>
            <a:r>
              <a:rPr lang="nl-NL"/>
              <a:t> </a:t>
            </a:r>
          </a:p>
        </p:txBody>
      </p:sp>
      <p:sp>
        <p:nvSpPr>
          <p:cNvPr id="10" name="Tijdelijke aanduiding voor afbeelding 6">
            <a:extLst>
              <a:ext uri="{FF2B5EF4-FFF2-40B4-BE49-F238E27FC236}">
                <a16:creationId xmlns:a16="http://schemas.microsoft.com/office/drawing/2014/main" id="{E20E2644-8BE8-4DC9-8BC3-45C93B529A46}"/>
              </a:ext>
            </a:extLst>
          </p:cNvPr>
          <p:cNvSpPr>
            <a:spLocks noGrp="1"/>
          </p:cNvSpPr>
          <p:nvPr>
            <p:ph type="pic" sz="quarter" idx="16" hasCustomPrompt="1"/>
          </p:nvPr>
        </p:nvSpPr>
        <p:spPr>
          <a:xfrm>
            <a:off x="12737870" y="5237231"/>
            <a:ext cx="4927023" cy="2860675"/>
          </a:xfrm>
        </p:spPr>
        <p:txBody>
          <a:bodyPr/>
          <a:lstStyle/>
          <a:p>
            <a:r>
              <a:rPr lang="nl-NL"/>
              <a:t> </a:t>
            </a:r>
          </a:p>
        </p:txBody>
      </p:sp>
      <p:sp>
        <p:nvSpPr>
          <p:cNvPr id="15" name="Tijdelijke aanduiding voor afbeelding 6">
            <a:extLst>
              <a:ext uri="{FF2B5EF4-FFF2-40B4-BE49-F238E27FC236}">
                <a16:creationId xmlns:a16="http://schemas.microsoft.com/office/drawing/2014/main" id="{31E4D92A-AF86-43A9-A743-104A423C1745}"/>
              </a:ext>
            </a:extLst>
          </p:cNvPr>
          <p:cNvSpPr>
            <a:spLocks noGrp="1"/>
          </p:cNvSpPr>
          <p:nvPr>
            <p:ph type="pic" sz="quarter" idx="17" hasCustomPrompt="1"/>
          </p:nvPr>
        </p:nvSpPr>
        <p:spPr>
          <a:xfrm>
            <a:off x="1705816" y="8877130"/>
            <a:ext cx="4927023" cy="2860675"/>
          </a:xfrm>
        </p:spPr>
        <p:txBody>
          <a:bodyPr/>
          <a:lstStyle/>
          <a:p>
            <a:r>
              <a:rPr lang="nl-NL"/>
              <a:t> </a:t>
            </a:r>
          </a:p>
        </p:txBody>
      </p:sp>
      <p:sp>
        <p:nvSpPr>
          <p:cNvPr id="16" name="Tijdelijke aanduiding voor afbeelding 6">
            <a:extLst>
              <a:ext uri="{FF2B5EF4-FFF2-40B4-BE49-F238E27FC236}">
                <a16:creationId xmlns:a16="http://schemas.microsoft.com/office/drawing/2014/main" id="{1D120308-830A-4C13-87DF-1E9F7A36274F}"/>
              </a:ext>
            </a:extLst>
          </p:cNvPr>
          <p:cNvSpPr>
            <a:spLocks noGrp="1"/>
          </p:cNvSpPr>
          <p:nvPr>
            <p:ph type="pic" sz="quarter" idx="18" hasCustomPrompt="1"/>
          </p:nvPr>
        </p:nvSpPr>
        <p:spPr>
          <a:xfrm>
            <a:off x="18243635" y="8877130"/>
            <a:ext cx="4927023" cy="2860675"/>
          </a:xfrm>
        </p:spPr>
        <p:txBody>
          <a:bodyPr/>
          <a:lstStyle/>
          <a:p>
            <a:r>
              <a:rPr lang="nl-NL"/>
              <a:t> </a:t>
            </a:r>
          </a:p>
        </p:txBody>
      </p:sp>
      <p:sp>
        <p:nvSpPr>
          <p:cNvPr id="17" name="Tijdelijke aanduiding voor afbeelding 6">
            <a:extLst>
              <a:ext uri="{FF2B5EF4-FFF2-40B4-BE49-F238E27FC236}">
                <a16:creationId xmlns:a16="http://schemas.microsoft.com/office/drawing/2014/main" id="{3883F612-1B06-4822-866A-B1440C58AA3F}"/>
              </a:ext>
            </a:extLst>
          </p:cNvPr>
          <p:cNvSpPr>
            <a:spLocks noGrp="1"/>
          </p:cNvSpPr>
          <p:nvPr>
            <p:ph type="pic" sz="quarter" idx="19" hasCustomPrompt="1"/>
          </p:nvPr>
        </p:nvSpPr>
        <p:spPr>
          <a:xfrm>
            <a:off x="7218422" y="8877130"/>
            <a:ext cx="4927023" cy="2860675"/>
          </a:xfrm>
        </p:spPr>
        <p:txBody>
          <a:bodyPr/>
          <a:lstStyle/>
          <a:p>
            <a:r>
              <a:rPr lang="nl-NL"/>
              <a:t> </a:t>
            </a:r>
          </a:p>
        </p:txBody>
      </p:sp>
      <p:sp>
        <p:nvSpPr>
          <p:cNvPr id="18" name="Tijdelijke aanduiding voor afbeelding 6">
            <a:extLst>
              <a:ext uri="{FF2B5EF4-FFF2-40B4-BE49-F238E27FC236}">
                <a16:creationId xmlns:a16="http://schemas.microsoft.com/office/drawing/2014/main" id="{C48D043F-1F9F-4101-9A10-E896490CEF55}"/>
              </a:ext>
            </a:extLst>
          </p:cNvPr>
          <p:cNvSpPr>
            <a:spLocks noGrp="1"/>
          </p:cNvSpPr>
          <p:nvPr>
            <p:ph type="pic" sz="quarter" idx="20" hasCustomPrompt="1"/>
          </p:nvPr>
        </p:nvSpPr>
        <p:spPr>
          <a:xfrm>
            <a:off x="12731028" y="8877130"/>
            <a:ext cx="4927023" cy="2860675"/>
          </a:xfrm>
        </p:spPr>
        <p:txBody>
          <a:bodyPr/>
          <a:lstStyle/>
          <a:p>
            <a:r>
              <a:rPr lang="nl-NL"/>
              <a:t> </a:t>
            </a:r>
          </a:p>
        </p:txBody>
      </p:sp>
      <p:sp>
        <p:nvSpPr>
          <p:cNvPr id="14" name="Tijdelijke aanduiding voor datum 4">
            <a:extLst>
              <a:ext uri="{FF2B5EF4-FFF2-40B4-BE49-F238E27FC236}">
                <a16:creationId xmlns:a16="http://schemas.microsoft.com/office/drawing/2014/main" id="{11120278-C070-43FB-AF5F-FDA720BA38A7}"/>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19" name="Tijdelijke aanduiding voor voettekst 4">
            <a:extLst>
              <a:ext uri="{FF2B5EF4-FFF2-40B4-BE49-F238E27FC236}">
                <a16:creationId xmlns:a16="http://schemas.microsoft.com/office/drawing/2014/main" id="{E087BAC2-1B45-4B7B-A1BA-0109C18E0293}"/>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Tree>
    <p:extLst>
      <p:ext uri="{BB962C8B-B14F-4D97-AF65-F5344CB8AC3E}">
        <p14:creationId xmlns:p14="http://schemas.microsoft.com/office/powerpoint/2010/main" val="3258489852"/>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Klantlogos / partnerlogos wit">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EB9B63A-A661-4217-A444-F233E10F82B5}"/>
              </a:ext>
            </a:extLst>
          </p:cNvPr>
          <p:cNvSpPr>
            <a:spLocks noGrp="1"/>
          </p:cNvSpPr>
          <p:nvPr>
            <p:ph type="title" hasCustomPrompt="1"/>
          </p:nvPr>
        </p:nvSpPr>
        <p:spPr/>
        <p:txBody>
          <a:bodyPr/>
          <a:lstStyle>
            <a:lvl1pPr algn="ctr">
              <a:defRPr b="0">
                <a:latin typeface="+mn-lt"/>
              </a:defRPr>
            </a:lvl1pPr>
          </a:lstStyle>
          <a:p>
            <a:r>
              <a:rPr lang="nl-NL"/>
              <a:t>Waar we met trots mee samen en voor werken</a:t>
            </a:r>
          </a:p>
        </p:txBody>
      </p:sp>
      <p:sp>
        <p:nvSpPr>
          <p:cNvPr id="3" name="Tijdelijke aanduiding voor dianummer 2">
            <a:extLst>
              <a:ext uri="{FF2B5EF4-FFF2-40B4-BE49-F238E27FC236}">
                <a16:creationId xmlns:a16="http://schemas.microsoft.com/office/drawing/2014/main" id="{A7FCD538-5A12-4A25-8F46-4ACCC38D5250}"/>
              </a:ext>
            </a:extLst>
          </p:cNvPr>
          <p:cNvSpPr>
            <a:spLocks noGrp="1"/>
          </p:cNvSpPr>
          <p:nvPr>
            <p:ph type="sldNum" sz="quarter" idx="10"/>
          </p:nvPr>
        </p:nvSpPr>
        <p:spPr/>
        <p:txBody>
          <a:bodyPr/>
          <a:lstStyle/>
          <a:p>
            <a:fld id="{86CB4B4D-7CA3-9044-876B-883B54F8677D}" type="slidenum">
              <a:rPr lang="nl-NL" smtClean="0"/>
              <a:pPr/>
              <a:t>‹nr.›</a:t>
            </a:fld>
            <a:endParaRPr lang="nl-NL"/>
          </a:p>
        </p:txBody>
      </p:sp>
      <p:sp>
        <p:nvSpPr>
          <p:cNvPr id="7" name="Tijdelijke aanduiding voor afbeelding 6">
            <a:extLst>
              <a:ext uri="{FF2B5EF4-FFF2-40B4-BE49-F238E27FC236}">
                <a16:creationId xmlns:a16="http://schemas.microsoft.com/office/drawing/2014/main" id="{A36A292C-E1D0-46AC-B0E3-FB3E061F2CF5}"/>
              </a:ext>
            </a:extLst>
          </p:cNvPr>
          <p:cNvSpPr>
            <a:spLocks noGrp="1"/>
          </p:cNvSpPr>
          <p:nvPr>
            <p:ph type="pic" sz="quarter" idx="13" hasCustomPrompt="1"/>
          </p:nvPr>
        </p:nvSpPr>
        <p:spPr>
          <a:xfrm>
            <a:off x="1712658" y="5237231"/>
            <a:ext cx="4927023" cy="2860675"/>
          </a:xfrm>
        </p:spPr>
        <p:txBody>
          <a:bodyPr/>
          <a:lstStyle/>
          <a:p>
            <a:r>
              <a:rPr lang="nl-NL"/>
              <a:t> </a:t>
            </a:r>
          </a:p>
        </p:txBody>
      </p:sp>
      <p:sp>
        <p:nvSpPr>
          <p:cNvPr id="8" name="Tijdelijke aanduiding voor afbeelding 6">
            <a:extLst>
              <a:ext uri="{FF2B5EF4-FFF2-40B4-BE49-F238E27FC236}">
                <a16:creationId xmlns:a16="http://schemas.microsoft.com/office/drawing/2014/main" id="{9934FC1F-BC41-44A2-B200-F3E64DF3BD28}"/>
              </a:ext>
            </a:extLst>
          </p:cNvPr>
          <p:cNvSpPr>
            <a:spLocks noGrp="1"/>
          </p:cNvSpPr>
          <p:nvPr>
            <p:ph type="pic" sz="quarter" idx="14" hasCustomPrompt="1"/>
          </p:nvPr>
        </p:nvSpPr>
        <p:spPr>
          <a:xfrm>
            <a:off x="18250477" y="5237231"/>
            <a:ext cx="4927023" cy="2860675"/>
          </a:xfrm>
        </p:spPr>
        <p:txBody>
          <a:bodyPr/>
          <a:lstStyle/>
          <a:p>
            <a:r>
              <a:rPr lang="nl-NL"/>
              <a:t> </a:t>
            </a:r>
          </a:p>
        </p:txBody>
      </p:sp>
      <p:sp>
        <p:nvSpPr>
          <p:cNvPr id="9" name="Tijdelijke aanduiding voor afbeelding 6">
            <a:extLst>
              <a:ext uri="{FF2B5EF4-FFF2-40B4-BE49-F238E27FC236}">
                <a16:creationId xmlns:a16="http://schemas.microsoft.com/office/drawing/2014/main" id="{7FB1A6FA-8DF0-4ABB-A553-7B25B4D61AAE}"/>
              </a:ext>
            </a:extLst>
          </p:cNvPr>
          <p:cNvSpPr>
            <a:spLocks noGrp="1"/>
          </p:cNvSpPr>
          <p:nvPr>
            <p:ph type="pic" sz="quarter" idx="15" hasCustomPrompt="1"/>
          </p:nvPr>
        </p:nvSpPr>
        <p:spPr>
          <a:xfrm>
            <a:off x="7225264" y="5237231"/>
            <a:ext cx="4927023" cy="2860675"/>
          </a:xfrm>
        </p:spPr>
        <p:txBody>
          <a:bodyPr/>
          <a:lstStyle/>
          <a:p>
            <a:r>
              <a:rPr lang="nl-NL"/>
              <a:t> </a:t>
            </a:r>
          </a:p>
        </p:txBody>
      </p:sp>
      <p:sp>
        <p:nvSpPr>
          <p:cNvPr id="10" name="Tijdelijke aanduiding voor afbeelding 6">
            <a:extLst>
              <a:ext uri="{FF2B5EF4-FFF2-40B4-BE49-F238E27FC236}">
                <a16:creationId xmlns:a16="http://schemas.microsoft.com/office/drawing/2014/main" id="{E20E2644-8BE8-4DC9-8BC3-45C93B529A46}"/>
              </a:ext>
            </a:extLst>
          </p:cNvPr>
          <p:cNvSpPr>
            <a:spLocks noGrp="1"/>
          </p:cNvSpPr>
          <p:nvPr>
            <p:ph type="pic" sz="quarter" idx="16" hasCustomPrompt="1"/>
          </p:nvPr>
        </p:nvSpPr>
        <p:spPr>
          <a:xfrm>
            <a:off x="12737870" y="5237231"/>
            <a:ext cx="4927023" cy="2860675"/>
          </a:xfrm>
        </p:spPr>
        <p:txBody>
          <a:bodyPr/>
          <a:lstStyle/>
          <a:p>
            <a:r>
              <a:rPr lang="nl-NL"/>
              <a:t> </a:t>
            </a:r>
          </a:p>
        </p:txBody>
      </p:sp>
      <p:sp>
        <p:nvSpPr>
          <p:cNvPr id="15" name="Tijdelijke aanduiding voor afbeelding 6">
            <a:extLst>
              <a:ext uri="{FF2B5EF4-FFF2-40B4-BE49-F238E27FC236}">
                <a16:creationId xmlns:a16="http://schemas.microsoft.com/office/drawing/2014/main" id="{31E4D92A-AF86-43A9-A743-104A423C1745}"/>
              </a:ext>
            </a:extLst>
          </p:cNvPr>
          <p:cNvSpPr>
            <a:spLocks noGrp="1"/>
          </p:cNvSpPr>
          <p:nvPr>
            <p:ph type="pic" sz="quarter" idx="17" hasCustomPrompt="1"/>
          </p:nvPr>
        </p:nvSpPr>
        <p:spPr>
          <a:xfrm>
            <a:off x="1705816" y="8877130"/>
            <a:ext cx="4927023" cy="2860675"/>
          </a:xfrm>
        </p:spPr>
        <p:txBody>
          <a:bodyPr/>
          <a:lstStyle/>
          <a:p>
            <a:r>
              <a:rPr lang="nl-NL"/>
              <a:t> </a:t>
            </a:r>
          </a:p>
        </p:txBody>
      </p:sp>
      <p:sp>
        <p:nvSpPr>
          <p:cNvPr id="16" name="Tijdelijke aanduiding voor afbeelding 6">
            <a:extLst>
              <a:ext uri="{FF2B5EF4-FFF2-40B4-BE49-F238E27FC236}">
                <a16:creationId xmlns:a16="http://schemas.microsoft.com/office/drawing/2014/main" id="{1D120308-830A-4C13-87DF-1E9F7A36274F}"/>
              </a:ext>
            </a:extLst>
          </p:cNvPr>
          <p:cNvSpPr>
            <a:spLocks noGrp="1"/>
          </p:cNvSpPr>
          <p:nvPr>
            <p:ph type="pic" sz="quarter" idx="18" hasCustomPrompt="1"/>
          </p:nvPr>
        </p:nvSpPr>
        <p:spPr>
          <a:xfrm>
            <a:off x="18243635" y="8877130"/>
            <a:ext cx="4927023" cy="2860675"/>
          </a:xfrm>
        </p:spPr>
        <p:txBody>
          <a:bodyPr/>
          <a:lstStyle/>
          <a:p>
            <a:r>
              <a:rPr lang="nl-NL"/>
              <a:t> </a:t>
            </a:r>
          </a:p>
        </p:txBody>
      </p:sp>
      <p:sp>
        <p:nvSpPr>
          <p:cNvPr id="17" name="Tijdelijke aanduiding voor afbeelding 6">
            <a:extLst>
              <a:ext uri="{FF2B5EF4-FFF2-40B4-BE49-F238E27FC236}">
                <a16:creationId xmlns:a16="http://schemas.microsoft.com/office/drawing/2014/main" id="{3883F612-1B06-4822-866A-B1440C58AA3F}"/>
              </a:ext>
            </a:extLst>
          </p:cNvPr>
          <p:cNvSpPr>
            <a:spLocks noGrp="1"/>
          </p:cNvSpPr>
          <p:nvPr>
            <p:ph type="pic" sz="quarter" idx="19" hasCustomPrompt="1"/>
          </p:nvPr>
        </p:nvSpPr>
        <p:spPr>
          <a:xfrm>
            <a:off x="7218422" y="8877130"/>
            <a:ext cx="4927023" cy="2860675"/>
          </a:xfrm>
        </p:spPr>
        <p:txBody>
          <a:bodyPr/>
          <a:lstStyle/>
          <a:p>
            <a:r>
              <a:rPr lang="nl-NL"/>
              <a:t> </a:t>
            </a:r>
          </a:p>
        </p:txBody>
      </p:sp>
      <p:sp>
        <p:nvSpPr>
          <p:cNvPr id="18" name="Tijdelijke aanduiding voor afbeelding 6">
            <a:extLst>
              <a:ext uri="{FF2B5EF4-FFF2-40B4-BE49-F238E27FC236}">
                <a16:creationId xmlns:a16="http://schemas.microsoft.com/office/drawing/2014/main" id="{C48D043F-1F9F-4101-9A10-E896490CEF55}"/>
              </a:ext>
            </a:extLst>
          </p:cNvPr>
          <p:cNvSpPr>
            <a:spLocks noGrp="1"/>
          </p:cNvSpPr>
          <p:nvPr>
            <p:ph type="pic" sz="quarter" idx="20" hasCustomPrompt="1"/>
          </p:nvPr>
        </p:nvSpPr>
        <p:spPr>
          <a:xfrm>
            <a:off x="12731028" y="8877130"/>
            <a:ext cx="4927023" cy="2860675"/>
          </a:xfrm>
        </p:spPr>
        <p:txBody>
          <a:bodyPr/>
          <a:lstStyle/>
          <a:p>
            <a:r>
              <a:rPr lang="nl-NL"/>
              <a:t> </a:t>
            </a:r>
          </a:p>
        </p:txBody>
      </p:sp>
      <p:sp>
        <p:nvSpPr>
          <p:cNvPr id="14" name="Tijdelijke aanduiding voor datum 4">
            <a:extLst>
              <a:ext uri="{FF2B5EF4-FFF2-40B4-BE49-F238E27FC236}">
                <a16:creationId xmlns:a16="http://schemas.microsoft.com/office/drawing/2014/main" id="{927D0419-59ED-4986-B5FB-AE3F0FFD9FA2}"/>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19" name="Tijdelijke aanduiding voor voettekst 4">
            <a:extLst>
              <a:ext uri="{FF2B5EF4-FFF2-40B4-BE49-F238E27FC236}">
                <a16:creationId xmlns:a16="http://schemas.microsoft.com/office/drawing/2014/main" id="{44E473E6-A98A-4B22-BB29-98315FB87EA6}"/>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Tree>
    <p:extLst>
      <p:ext uri="{BB962C8B-B14F-4D97-AF65-F5344CB8AC3E}">
        <p14:creationId xmlns:p14="http://schemas.microsoft.com/office/powerpoint/2010/main" val="1819089329"/>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CC67F57-CD61-49A2-8791-5C19F7D0C4A4}"/>
              </a:ext>
            </a:extLst>
          </p:cNvPr>
          <p:cNvSpPr>
            <a:spLocks noGrp="1"/>
          </p:cNvSpPr>
          <p:nvPr>
            <p:ph type="title"/>
          </p:nvPr>
        </p:nvSpPr>
        <p:spPr>
          <a:xfrm>
            <a:off x="2161308" y="839515"/>
            <a:ext cx="21018033" cy="1524272"/>
          </a:xfrm>
        </p:spPr>
        <p:txBody>
          <a:bodyPr/>
          <a:lstStyle/>
          <a:p>
            <a:r>
              <a:rPr lang="nl-NL"/>
              <a:t>Klik om stijl te bewerken</a:t>
            </a:r>
          </a:p>
        </p:txBody>
      </p:sp>
      <p:sp>
        <p:nvSpPr>
          <p:cNvPr id="3" name="Tijdelijke aanduiding voor dianummer 2">
            <a:extLst>
              <a:ext uri="{FF2B5EF4-FFF2-40B4-BE49-F238E27FC236}">
                <a16:creationId xmlns:a16="http://schemas.microsoft.com/office/drawing/2014/main" id="{2FA0DC6E-25B9-412E-A918-174FF2789FD0}"/>
              </a:ext>
            </a:extLst>
          </p:cNvPr>
          <p:cNvSpPr>
            <a:spLocks noGrp="1"/>
          </p:cNvSpPr>
          <p:nvPr>
            <p:ph type="sldNum" sz="quarter" idx="10"/>
          </p:nvPr>
        </p:nvSpPr>
        <p:spPr/>
        <p:txBody>
          <a:bodyPr/>
          <a:lstStyle/>
          <a:p>
            <a:fld id="{86CB4B4D-7CA3-9044-876B-883B54F8677D}" type="slidenum">
              <a:rPr lang="nl-NL" smtClean="0"/>
              <a:pPr/>
              <a:t>‹nr.›</a:t>
            </a:fld>
            <a:endParaRPr lang="nl-NL"/>
          </a:p>
        </p:txBody>
      </p:sp>
      <p:sp>
        <p:nvSpPr>
          <p:cNvPr id="9" name="Tijdelijke aanduiding voor datum 4">
            <a:extLst>
              <a:ext uri="{FF2B5EF4-FFF2-40B4-BE49-F238E27FC236}">
                <a16:creationId xmlns:a16="http://schemas.microsoft.com/office/drawing/2014/main" id="{ED8B6988-E201-4821-9F3C-3B21C3C48F09}"/>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10" name="Tijdelijke aanduiding voor voettekst 4">
            <a:extLst>
              <a:ext uri="{FF2B5EF4-FFF2-40B4-BE49-F238E27FC236}">
                <a16:creationId xmlns:a16="http://schemas.microsoft.com/office/drawing/2014/main" id="{11EB08A4-3FB6-4C77-916E-C9926C1C71DD}"/>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Tree>
    <p:extLst>
      <p:ext uri="{BB962C8B-B14F-4D97-AF65-F5344CB8AC3E}">
        <p14:creationId xmlns:p14="http://schemas.microsoft.com/office/powerpoint/2010/main" val="793124965"/>
      </p:ext>
    </p:extLst>
  </p:cSld>
  <p:clrMapOvr>
    <a:masterClrMapping/>
  </p:clrMapOvr>
  <p:transition spd="med"/>
  <p:extLst>
    <p:ext uri="{DCECCB84-F9BA-43D5-87BE-67443E8EF086}">
      <p15:sldGuideLst xmlns:p15="http://schemas.microsoft.com/office/powerpoint/2012/main">
        <p15:guide id="9" orient="horz" pos="5386"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eeg">
    <p:spTree>
      <p:nvGrpSpPr>
        <p:cNvPr id="1" name=""/>
        <p:cNvGrpSpPr/>
        <p:nvPr/>
      </p:nvGrpSpPr>
      <p:grpSpPr>
        <a:xfrm>
          <a:off x="0" y="0"/>
          <a:ext cx="0" cy="0"/>
          <a:chOff x="0" y="0"/>
          <a:chExt cx="0" cy="0"/>
        </a:xfrm>
      </p:grpSpPr>
      <p:sp>
        <p:nvSpPr>
          <p:cNvPr id="3" name="Tijdelijke aanduiding voor dianummer 2">
            <a:extLst>
              <a:ext uri="{FF2B5EF4-FFF2-40B4-BE49-F238E27FC236}">
                <a16:creationId xmlns:a16="http://schemas.microsoft.com/office/drawing/2014/main" id="{2FA0DC6E-25B9-412E-A918-174FF2789FD0}"/>
              </a:ext>
            </a:extLst>
          </p:cNvPr>
          <p:cNvSpPr>
            <a:spLocks noGrp="1"/>
          </p:cNvSpPr>
          <p:nvPr>
            <p:ph type="sldNum" sz="quarter" idx="10"/>
          </p:nvPr>
        </p:nvSpPr>
        <p:spPr/>
        <p:txBody>
          <a:bodyPr/>
          <a:lstStyle/>
          <a:p>
            <a:fld id="{86CB4B4D-7CA3-9044-876B-883B54F8677D}" type="slidenum">
              <a:rPr lang="nl-NL" smtClean="0"/>
              <a:pPr/>
              <a:t>‹nr.›</a:t>
            </a:fld>
            <a:endParaRPr lang="nl-NL"/>
          </a:p>
        </p:txBody>
      </p:sp>
      <p:sp>
        <p:nvSpPr>
          <p:cNvPr id="5" name="Tijdelijke aanduiding voor datum 4">
            <a:extLst>
              <a:ext uri="{FF2B5EF4-FFF2-40B4-BE49-F238E27FC236}">
                <a16:creationId xmlns:a16="http://schemas.microsoft.com/office/drawing/2014/main" id="{723E4735-1C1F-424B-B5A9-7C24AB22961A}"/>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6" name="Tijdelijke aanduiding voor voettekst 4">
            <a:extLst>
              <a:ext uri="{FF2B5EF4-FFF2-40B4-BE49-F238E27FC236}">
                <a16:creationId xmlns:a16="http://schemas.microsoft.com/office/drawing/2014/main" id="{17223F95-961D-417A-B9B8-7CDD96A190F0}"/>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Tree>
    <p:extLst>
      <p:ext uri="{BB962C8B-B14F-4D97-AF65-F5344CB8AC3E}">
        <p14:creationId xmlns:p14="http://schemas.microsoft.com/office/powerpoint/2010/main" val="3539725503"/>
      </p:ext>
    </p:extLst>
  </p:cSld>
  <p:clrMapOvr>
    <a:masterClrMapping/>
  </p:clrMapOvr>
  <p:transition spd="med"/>
  <p:extLst>
    <p:ext uri="{DCECCB84-F9BA-43D5-87BE-67443E8EF086}">
      <p15:sldGuideLst xmlns:p15="http://schemas.microsoft.com/office/powerpoint/2012/main">
        <p15:guide id="2" pos="7680" userDrawn="1">
          <p15:clr>
            <a:srgbClr val="FBAE40"/>
          </p15:clr>
        </p15:guide>
        <p15:guide id="3" pos="1080" userDrawn="1">
          <p15:clr>
            <a:srgbClr val="FBAE40"/>
          </p15:clr>
        </p15:guide>
        <p15:guide id="4" pos="14597" userDrawn="1">
          <p15:clr>
            <a:srgbClr val="FBAE40"/>
          </p15:clr>
        </p15:guide>
        <p15:guide id="5" orient="horz" pos="2937" userDrawn="1">
          <p15:clr>
            <a:srgbClr val="FBAE40"/>
          </p15:clr>
        </p15:guide>
        <p15:guide id="6" orient="horz" pos="7881" userDrawn="1">
          <p15:clr>
            <a:srgbClr val="FBAE40"/>
          </p15:clr>
        </p15:guide>
        <p15:guide id="7" orient="horz" pos="2551" userDrawn="1">
          <p15:clr>
            <a:srgbClr val="FBAE40"/>
          </p15:clr>
        </p15:guide>
        <p15:guide id="8" orient="horz" pos="1530" userDrawn="1">
          <p15:clr>
            <a:srgbClr val="FBAE40"/>
          </p15:clr>
        </p15:guide>
        <p15:guide id="9" orient="horz" pos="5386"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Lee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6751791"/>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indedia">
    <p:bg>
      <p:bgPr>
        <a:solidFill>
          <a:schemeClr val="accent2"/>
        </a:solidFill>
        <a:effectLst/>
      </p:bgPr>
    </p:bg>
    <p:spTree>
      <p:nvGrpSpPr>
        <p:cNvPr id="1" name=""/>
        <p:cNvGrpSpPr/>
        <p:nvPr/>
      </p:nvGrpSpPr>
      <p:grpSpPr>
        <a:xfrm>
          <a:off x="0" y="0"/>
          <a:ext cx="0" cy="0"/>
          <a:chOff x="0" y="0"/>
          <a:chExt cx="0" cy="0"/>
        </a:xfrm>
      </p:grpSpPr>
      <p:sp>
        <p:nvSpPr>
          <p:cNvPr id="6" name="Tijdelijke aanduiding voor afbeelding 4">
            <a:extLst>
              <a:ext uri="{FF2B5EF4-FFF2-40B4-BE49-F238E27FC236}">
                <a16:creationId xmlns:a16="http://schemas.microsoft.com/office/drawing/2014/main" id="{59C95FE6-D8BF-4725-ACC6-FB8975F31B9D}"/>
              </a:ext>
            </a:extLst>
          </p:cNvPr>
          <p:cNvSpPr>
            <a:spLocks noGrp="1"/>
          </p:cNvSpPr>
          <p:nvPr>
            <p:ph type="pic" sz="quarter" idx="24" hasCustomPrompt="1"/>
          </p:nvPr>
        </p:nvSpPr>
        <p:spPr>
          <a:xfrm>
            <a:off x="10922925" y="448887"/>
            <a:ext cx="13065852" cy="12918770"/>
          </a:xfrm>
          <a:prstGeom prst="round2DiagRect">
            <a:avLst>
              <a:gd name="adj1" fmla="val 44527"/>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3" name="Tijdelijke aanduiding voor dianummer 2">
            <a:extLst>
              <a:ext uri="{FF2B5EF4-FFF2-40B4-BE49-F238E27FC236}">
                <a16:creationId xmlns:a16="http://schemas.microsoft.com/office/drawing/2014/main" id="{1C4B4FD0-60E8-42A7-BBF1-AFDA0A7CE86D}"/>
              </a:ext>
            </a:extLst>
          </p:cNvPr>
          <p:cNvSpPr>
            <a:spLocks noGrp="1"/>
          </p:cNvSpPr>
          <p:nvPr>
            <p:ph type="sldNum" sz="quarter" idx="10"/>
          </p:nvPr>
        </p:nvSpPr>
        <p:spPr>
          <a:xfrm>
            <a:off x="23177500" y="13807440"/>
            <a:ext cx="811276" cy="441146"/>
          </a:xfrm>
        </p:spPr>
        <p:txBody>
          <a:bodyPr/>
          <a:lstStyle/>
          <a:p>
            <a:fld id="{86CB4B4D-7CA3-9044-876B-883B54F8677D}" type="slidenum">
              <a:rPr lang="nl-NL" smtClean="0"/>
              <a:pPr/>
              <a:t>‹nr.›</a:t>
            </a:fld>
            <a:endParaRPr lang="nl-NL"/>
          </a:p>
        </p:txBody>
      </p:sp>
      <p:sp>
        <p:nvSpPr>
          <p:cNvPr id="10" name="Pand Noord…">
            <a:extLst>
              <a:ext uri="{FF2B5EF4-FFF2-40B4-BE49-F238E27FC236}">
                <a16:creationId xmlns:a16="http://schemas.microsoft.com/office/drawing/2014/main" id="{1C503A6F-85C2-4B44-A293-B9FE153D7193}"/>
              </a:ext>
            </a:extLst>
          </p:cNvPr>
          <p:cNvSpPr txBox="1"/>
          <p:nvPr userDrawn="1"/>
        </p:nvSpPr>
        <p:spPr>
          <a:xfrm>
            <a:off x="478748" y="11818256"/>
            <a:ext cx="3097912" cy="154940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50800" tIns="50800" rIns="50800" bIns="50800" anchor="ctr">
            <a:spAutoFit/>
          </a:bodyPr>
          <a:lstStyle/>
          <a:p>
            <a:pPr>
              <a:lnSpc>
                <a:spcPct val="100000"/>
              </a:lnSpc>
              <a:spcBef>
                <a:spcPts val="0"/>
              </a:spcBef>
              <a:defRPr sz="3000" spc="-59">
                <a:latin typeface="Source Sans Pro Regular"/>
                <a:ea typeface="Source Sans Pro Regular"/>
                <a:cs typeface="Source Sans Pro Regular"/>
                <a:sym typeface="Source Sans Pro Regular"/>
              </a:defRPr>
            </a:pPr>
            <a:r>
              <a:rPr err="1"/>
              <a:t>Pand</a:t>
            </a:r>
            <a:r>
              <a:t> Noord</a:t>
            </a:r>
          </a:p>
          <a:p>
            <a:pPr>
              <a:lnSpc>
                <a:spcPct val="100000"/>
              </a:lnSpc>
              <a:spcBef>
                <a:spcPts val="0"/>
              </a:spcBef>
              <a:defRPr sz="3000" spc="-59">
                <a:latin typeface="Source Sans Pro Regular"/>
                <a:ea typeface="Source Sans Pro Regular"/>
                <a:cs typeface="Source Sans Pro Regular"/>
                <a:sym typeface="Source Sans Pro Regular"/>
              </a:defRPr>
            </a:pPr>
            <a:r>
              <a:rPr err="1"/>
              <a:t>Meeuwenlaan</a:t>
            </a:r>
            <a:r>
              <a:t> 100</a:t>
            </a:r>
          </a:p>
          <a:p>
            <a:pPr>
              <a:lnSpc>
                <a:spcPct val="100000"/>
              </a:lnSpc>
              <a:spcBef>
                <a:spcPts val="0"/>
              </a:spcBef>
              <a:defRPr sz="3000" spc="-59">
                <a:latin typeface="Source Sans Pro Regular"/>
                <a:ea typeface="Source Sans Pro Regular"/>
                <a:cs typeface="Source Sans Pro Regular"/>
                <a:sym typeface="Source Sans Pro Regular"/>
              </a:defRPr>
            </a:pPr>
            <a:r>
              <a:t>1021 JL Amsterdam</a:t>
            </a:r>
          </a:p>
        </p:txBody>
      </p:sp>
      <p:sp>
        <p:nvSpPr>
          <p:cNvPr id="11" name="+31 (0) 20 447 39 25…">
            <a:extLst>
              <a:ext uri="{FF2B5EF4-FFF2-40B4-BE49-F238E27FC236}">
                <a16:creationId xmlns:a16="http://schemas.microsoft.com/office/drawing/2014/main" id="{CB01E701-D776-49C1-AD9D-8F05749A2957}"/>
              </a:ext>
            </a:extLst>
          </p:cNvPr>
          <p:cNvSpPr txBox="1"/>
          <p:nvPr userDrawn="1"/>
        </p:nvSpPr>
        <p:spPr>
          <a:xfrm>
            <a:off x="4023077" y="11818256"/>
            <a:ext cx="3492628" cy="1549401"/>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50800" tIns="50800" rIns="50800" bIns="50800" anchor="ctr">
            <a:spAutoFit/>
          </a:bodyPr>
          <a:lstStyle/>
          <a:p>
            <a:pPr>
              <a:lnSpc>
                <a:spcPct val="100000"/>
              </a:lnSpc>
              <a:spcBef>
                <a:spcPts val="0"/>
              </a:spcBef>
              <a:defRPr sz="3000" spc="-59">
                <a:latin typeface="Source Sans Pro Regular"/>
                <a:ea typeface="Source Sans Pro Regular"/>
                <a:cs typeface="Source Sans Pro Regular"/>
                <a:sym typeface="Source Sans Pro Regular"/>
              </a:defRPr>
            </a:pPr>
            <a:r>
              <a:t>+31 (0) 20 447 39 25</a:t>
            </a:r>
          </a:p>
          <a:p>
            <a:pPr>
              <a:lnSpc>
                <a:spcPct val="100000"/>
              </a:lnSpc>
              <a:spcBef>
                <a:spcPts val="0"/>
              </a:spcBef>
              <a:defRPr sz="3000" spc="-59">
                <a:latin typeface="Source Sans Pro Regular"/>
                <a:ea typeface="Source Sans Pro Regular"/>
                <a:cs typeface="Source Sans Pro Regular"/>
                <a:sym typeface="Source Sans Pro Regular"/>
              </a:defRPr>
            </a:pPr>
            <a:r>
              <a:t>info@squarewise.com</a:t>
            </a:r>
          </a:p>
          <a:p>
            <a:pPr>
              <a:lnSpc>
                <a:spcPct val="100000"/>
              </a:lnSpc>
              <a:spcBef>
                <a:spcPts val="0"/>
              </a:spcBef>
              <a:defRPr sz="3000" spc="-59">
                <a:latin typeface="Source Sans Pro Regular"/>
                <a:ea typeface="Source Sans Pro Regular"/>
                <a:cs typeface="Source Sans Pro Regular"/>
                <a:sym typeface="Source Sans Pro Regular"/>
              </a:defRPr>
            </a:pPr>
            <a:r>
              <a:t>squarewise.com</a:t>
            </a:r>
          </a:p>
        </p:txBody>
      </p:sp>
      <p:pic>
        <p:nvPicPr>
          <p:cNvPr id="12" name="Graphic 11">
            <a:extLst>
              <a:ext uri="{FF2B5EF4-FFF2-40B4-BE49-F238E27FC236}">
                <a16:creationId xmlns:a16="http://schemas.microsoft.com/office/drawing/2014/main" id="{2280E3EE-3C3F-4782-AE3A-9325A183BF2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7010" y="413369"/>
            <a:ext cx="2165251" cy="2165251"/>
          </a:xfrm>
          <a:prstGeom prst="rect">
            <a:avLst/>
          </a:prstGeom>
        </p:spPr>
      </p:pic>
      <p:sp>
        <p:nvSpPr>
          <p:cNvPr id="13" name="Tijdelijke aanduiding voor datum 4">
            <a:extLst>
              <a:ext uri="{FF2B5EF4-FFF2-40B4-BE49-F238E27FC236}">
                <a16:creationId xmlns:a16="http://schemas.microsoft.com/office/drawing/2014/main" id="{FB78E81C-0E0D-42C6-94AB-735DF66E9CBB}"/>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14" name="Tijdelijke aanduiding voor voettekst 4">
            <a:extLst>
              <a:ext uri="{FF2B5EF4-FFF2-40B4-BE49-F238E27FC236}">
                <a16:creationId xmlns:a16="http://schemas.microsoft.com/office/drawing/2014/main" id="{27347367-9FB0-4D0C-8447-0E9362348DC0}"/>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Tree>
    <p:extLst>
      <p:ext uri="{BB962C8B-B14F-4D97-AF65-F5344CB8AC3E}">
        <p14:creationId xmlns:p14="http://schemas.microsoft.com/office/powerpoint/2010/main" val="466067800"/>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Eindedia">
    <p:bg>
      <p:bgPr>
        <a:solidFill>
          <a:schemeClr val="accent1"/>
        </a:solidFill>
        <a:effectLst/>
      </p:bgPr>
    </p:bg>
    <p:spTree>
      <p:nvGrpSpPr>
        <p:cNvPr id="1" name=""/>
        <p:cNvGrpSpPr/>
        <p:nvPr/>
      </p:nvGrpSpPr>
      <p:grpSpPr>
        <a:xfrm>
          <a:off x="0" y="0"/>
          <a:ext cx="0" cy="0"/>
          <a:chOff x="0" y="0"/>
          <a:chExt cx="0" cy="0"/>
        </a:xfrm>
      </p:grpSpPr>
      <p:sp>
        <p:nvSpPr>
          <p:cNvPr id="6" name="Tijdelijke aanduiding voor afbeelding 4">
            <a:extLst>
              <a:ext uri="{FF2B5EF4-FFF2-40B4-BE49-F238E27FC236}">
                <a16:creationId xmlns:a16="http://schemas.microsoft.com/office/drawing/2014/main" id="{59C95FE6-D8BF-4725-ACC6-FB8975F31B9D}"/>
              </a:ext>
            </a:extLst>
          </p:cNvPr>
          <p:cNvSpPr>
            <a:spLocks noGrp="1"/>
          </p:cNvSpPr>
          <p:nvPr>
            <p:ph type="pic" sz="quarter" idx="24" hasCustomPrompt="1"/>
          </p:nvPr>
        </p:nvSpPr>
        <p:spPr>
          <a:xfrm>
            <a:off x="10922925" y="448887"/>
            <a:ext cx="13065852" cy="12918770"/>
          </a:xfrm>
          <a:prstGeom prst="round2DiagRect">
            <a:avLst>
              <a:gd name="adj1" fmla="val 44527"/>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3" name="Tijdelijke aanduiding voor dianummer 2">
            <a:extLst>
              <a:ext uri="{FF2B5EF4-FFF2-40B4-BE49-F238E27FC236}">
                <a16:creationId xmlns:a16="http://schemas.microsoft.com/office/drawing/2014/main" id="{1C4B4FD0-60E8-42A7-BBF1-AFDA0A7CE86D}"/>
              </a:ext>
            </a:extLst>
          </p:cNvPr>
          <p:cNvSpPr>
            <a:spLocks noGrp="1"/>
          </p:cNvSpPr>
          <p:nvPr>
            <p:ph type="sldNum" sz="quarter" idx="10"/>
          </p:nvPr>
        </p:nvSpPr>
        <p:spPr>
          <a:xfrm>
            <a:off x="23177500" y="13807440"/>
            <a:ext cx="811276" cy="441146"/>
          </a:xfrm>
        </p:spPr>
        <p:txBody>
          <a:bodyPr/>
          <a:lstStyle/>
          <a:p>
            <a:fld id="{86CB4B4D-7CA3-9044-876B-883B54F8677D}" type="slidenum">
              <a:rPr lang="nl-NL" smtClean="0"/>
              <a:pPr/>
              <a:t>‹nr.›</a:t>
            </a:fld>
            <a:endParaRPr lang="nl-NL"/>
          </a:p>
        </p:txBody>
      </p:sp>
      <p:sp>
        <p:nvSpPr>
          <p:cNvPr id="10" name="Pand Noord…">
            <a:extLst>
              <a:ext uri="{FF2B5EF4-FFF2-40B4-BE49-F238E27FC236}">
                <a16:creationId xmlns:a16="http://schemas.microsoft.com/office/drawing/2014/main" id="{1C503A6F-85C2-4B44-A293-B9FE153D7193}"/>
              </a:ext>
            </a:extLst>
          </p:cNvPr>
          <p:cNvSpPr txBox="1"/>
          <p:nvPr userDrawn="1"/>
        </p:nvSpPr>
        <p:spPr>
          <a:xfrm>
            <a:off x="478748" y="11849163"/>
            <a:ext cx="3133487" cy="148758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50800" tIns="50800" rIns="50800" bIns="50800" anchor="ctr">
            <a:spAutoFit/>
          </a:bodyPr>
          <a:lstStyle/>
          <a:p>
            <a:pPr>
              <a:lnSpc>
                <a:spcPct val="100000"/>
              </a:lnSpc>
              <a:spcBef>
                <a:spcPts val="0"/>
              </a:spcBef>
              <a:defRPr sz="3000" spc="-59">
                <a:latin typeface="Source Sans Pro Regular"/>
                <a:ea typeface="Source Sans Pro Regular"/>
                <a:cs typeface="Source Sans Pro Regular"/>
                <a:sym typeface="Source Sans Pro Regular"/>
              </a:defRPr>
            </a:pPr>
            <a:r>
              <a:rPr err="1">
                <a:solidFill>
                  <a:schemeClr val="bg1"/>
                </a:solidFill>
              </a:rPr>
              <a:t>Pand</a:t>
            </a:r>
            <a:r>
              <a:rPr>
                <a:solidFill>
                  <a:schemeClr val="bg1"/>
                </a:solidFill>
              </a:rPr>
              <a:t> Noord</a:t>
            </a:r>
          </a:p>
          <a:p>
            <a:pPr>
              <a:lnSpc>
                <a:spcPct val="100000"/>
              </a:lnSpc>
              <a:spcBef>
                <a:spcPts val="0"/>
              </a:spcBef>
              <a:defRPr sz="3000" spc="-59">
                <a:latin typeface="Source Sans Pro Regular"/>
                <a:ea typeface="Source Sans Pro Regular"/>
                <a:cs typeface="Source Sans Pro Regular"/>
                <a:sym typeface="Source Sans Pro Regular"/>
              </a:defRPr>
            </a:pPr>
            <a:r>
              <a:rPr err="1">
                <a:solidFill>
                  <a:schemeClr val="bg1"/>
                </a:solidFill>
              </a:rPr>
              <a:t>Meeuwenlaan</a:t>
            </a:r>
            <a:r>
              <a:rPr>
                <a:solidFill>
                  <a:schemeClr val="bg1"/>
                </a:solidFill>
              </a:rPr>
              <a:t> 100</a:t>
            </a:r>
          </a:p>
          <a:p>
            <a:pPr>
              <a:lnSpc>
                <a:spcPct val="100000"/>
              </a:lnSpc>
              <a:spcBef>
                <a:spcPts val="0"/>
              </a:spcBef>
              <a:defRPr sz="3000" spc="-59">
                <a:latin typeface="Source Sans Pro Regular"/>
                <a:ea typeface="Source Sans Pro Regular"/>
                <a:cs typeface="Source Sans Pro Regular"/>
                <a:sym typeface="Source Sans Pro Regular"/>
              </a:defRPr>
            </a:pPr>
            <a:r>
              <a:rPr>
                <a:solidFill>
                  <a:schemeClr val="bg1"/>
                </a:solidFill>
              </a:rPr>
              <a:t>1021 JL Amsterdam</a:t>
            </a:r>
          </a:p>
        </p:txBody>
      </p:sp>
      <p:sp>
        <p:nvSpPr>
          <p:cNvPr id="11" name="+31 (0) 20 447 39 25…">
            <a:extLst>
              <a:ext uri="{FF2B5EF4-FFF2-40B4-BE49-F238E27FC236}">
                <a16:creationId xmlns:a16="http://schemas.microsoft.com/office/drawing/2014/main" id="{CB01E701-D776-49C1-AD9D-8F05749A2957}"/>
              </a:ext>
            </a:extLst>
          </p:cNvPr>
          <p:cNvSpPr txBox="1"/>
          <p:nvPr userDrawn="1"/>
        </p:nvSpPr>
        <p:spPr>
          <a:xfrm>
            <a:off x="4023077" y="11849163"/>
            <a:ext cx="3533531" cy="1487587"/>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none" lIns="50800" tIns="50800" rIns="50800" bIns="50800" anchor="ctr">
            <a:spAutoFit/>
          </a:bodyPr>
          <a:lstStyle/>
          <a:p>
            <a:pPr>
              <a:lnSpc>
                <a:spcPct val="100000"/>
              </a:lnSpc>
              <a:spcBef>
                <a:spcPts val="0"/>
              </a:spcBef>
              <a:defRPr sz="3000" spc="-59">
                <a:latin typeface="Source Sans Pro Regular"/>
                <a:ea typeface="Source Sans Pro Regular"/>
                <a:cs typeface="Source Sans Pro Regular"/>
                <a:sym typeface="Source Sans Pro Regular"/>
              </a:defRPr>
            </a:pPr>
            <a:r>
              <a:rPr>
                <a:solidFill>
                  <a:schemeClr val="bg1"/>
                </a:solidFill>
              </a:rPr>
              <a:t>+31 (0) 20 447 39 25</a:t>
            </a:r>
          </a:p>
          <a:p>
            <a:pPr>
              <a:lnSpc>
                <a:spcPct val="100000"/>
              </a:lnSpc>
              <a:spcBef>
                <a:spcPts val="0"/>
              </a:spcBef>
              <a:defRPr sz="3000" spc="-59">
                <a:latin typeface="Source Sans Pro Regular"/>
                <a:ea typeface="Source Sans Pro Regular"/>
                <a:cs typeface="Source Sans Pro Regular"/>
                <a:sym typeface="Source Sans Pro Regular"/>
              </a:defRPr>
            </a:pPr>
            <a:r>
              <a:rPr>
                <a:solidFill>
                  <a:schemeClr val="bg1"/>
                </a:solidFill>
              </a:rPr>
              <a:t>info@squarewise.com</a:t>
            </a:r>
          </a:p>
          <a:p>
            <a:pPr>
              <a:lnSpc>
                <a:spcPct val="100000"/>
              </a:lnSpc>
              <a:spcBef>
                <a:spcPts val="0"/>
              </a:spcBef>
              <a:defRPr sz="3000" spc="-59">
                <a:latin typeface="Source Sans Pro Regular"/>
                <a:ea typeface="Source Sans Pro Regular"/>
                <a:cs typeface="Source Sans Pro Regular"/>
                <a:sym typeface="Source Sans Pro Regular"/>
              </a:defRPr>
            </a:pPr>
            <a:r>
              <a:rPr>
                <a:solidFill>
                  <a:schemeClr val="bg1"/>
                </a:solidFill>
              </a:rPr>
              <a:t>squarewise.com</a:t>
            </a:r>
          </a:p>
        </p:txBody>
      </p:sp>
      <p:sp>
        <p:nvSpPr>
          <p:cNvPr id="13" name="Tijdelijke aanduiding voor datum 4">
            <a:extLst>
              <a:ext uri="{FF2B5EF4-FFF2-40B4-BE49-F238E27FC236}">
                <a16:creationId xmlns:a16="http://schemas.microsoft.com/office/drawing/2014/main" id="{FB78E81C-0E0D-42C6-94AB-735DF66E9CBB}"/>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14" name="Tijdelijke aanduiding voor voettekst 4">
            <a:extLst>
              <a:ext uri="{FF2B5EF4-FFF2-40B4-BE49-F238E27FC236}">
                <a16:creationId xmlns:a16="http://schemas.microsoft.com/office/drawing/2014/main" id="{27347367-9FB0-4D0C-8447-0E9362348DC0}"/>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grpSp>
        <p:nvGrpSpPr>
          <p:cNvPr id="9" name="Groep 8">
            <a:extLst>
              <a:ext uri="{FF2B5EF4-FFF2-40B4-BE49-F238E27FC236}">
                <a16:creationId xmlns:a16="http://schemas.microsoft.com/office/drawing/2014/main" id="{9FE2E59C-6BF8-4DA3-B5DC-C5789502E5E3}"/>
              </a:ext>
            </a:extLst>
          </p:cNvPr>
          <p:cNvGrpSpPr/>
          <p:nvPr userDrawn="1"/>
        </p:nvGrpSpPr>
        <p:grpSpPr>
          <a:xfrm>
            <a:off x="367010" y="413369"/>
            <a:ext cx="2165696" cy="2165696"/>
            <a:chOff x="367010" y="413369"/>
            <a:chExt cx="2165696" cy="2165696"/>
          </a:xfrm>
        </p:grpSpPr>
        <p:sp>
          <p:nvSpPr>
            <p:cNvPr id="15" name="Graphic 13">
              <a:extLst>
                <a:ext uri="{FF2B5EF4-FFF2-40B4-BE49-F238E27FC236}">
                  <a16:creationId xmlns:a16="http://schemas.microsoft.com/office/drawing/2014/main" id="{535FE555-2D43-4983-A9EC-1213FC7F8D80}"/>
                </a:ext>
              </a:extLst>
            </p:cNvPr>
            <p:cNvSpPr/>
            <p:nvPr/>
          </p:nvSpPr>
          <p:spPr>
            <a:xfrm>
              <a:off x="367010" y="413369"/>
              <a:ext cx="2165696" cy="2165696"/>
            </a:xfrm>
            <a:custGeom>
              <a:avLst/>
              <a:gdLst>
                <a:gd name="connsiteX0" fmla="*/ 1200912 w 2165696"/>
                <a:gd name="connsiteY0" fmla="*/ 2165697 h 2165696"/>
                <a:gd name="connsiteX1" fmla="*/ 0 w 2165696"/>
                <a:gd name="connsiteY1" fmla="*/ 2165697 h 2165696"/>
                <a:gd name="connsiteX2" fmla="*/ 0 w 2165696"/>
                <a:gd name="connsiteY2" fmla="*/ 964784 h 2165696"/>
                <a:gd name="connsiteX3" fmla="*/ 964784 w 2165696"/>
                <a:gd name="connsiteY3" fmla="*/ 0 h 2165696"/>
                <a:gd name="connsiteX4" fmla="*/ 2165697 w 2165696"/>
                <a:gd name="connsiteY4" fmla="*/ 0 h 2165696"/>
                <a:gd name="connsiteX5" fmla="*/ 2165697 w 2165696"/>
                <a:gd name="connsiteY5" fmla="*/ 1200912 h 2165696"/>
                <a:gd name="connsiteX6" fmla="*/ 1200912 w 2165696"/>
                <a:gd name="connsiteY6" fmla="*/ 2165697 h 2165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5696" h="2165696">
                  <a:moveTo>
                    <a:pt x="1200912" y="2165697"/>
                  </a:moveTo>
                  <a:lnTo>
                    <a:pt x="0" y="2165697"/>
                  </a:lnTo>
                  <a:lnTo>
                    <a:pt x="0" y="964784"/>
                  </a:lnTo>
                  <a:cubicBezTo>
                    <a:pt x="0" y="431936"/>
                    <a:pt x="431936" y="0"/>
                    <a:pt x="964784" y="0"/>
                  </a:cubicBezTo>
                  <a:lnTo>
                    <a:pt x="2165697" y="0"/>
                  </a:lnTo>
                  <a:lnTo>
                    <a:pt x="2165697" y="1200912"/>
                  </a:lnTo>
                  <a:cubicBezTo>
                    <a:pt x="2165697" y="1733760"/>
                    <a:pt x="1733760" y="2165697"/>
                    <a:pt x="1200912" y="2165697"/>
                  </a:cubicBezTo>
                </a:path>
              </a:pathLst>
            </a:custGeom>
            <a:solidFill>
              <a:schemeClr val="bg1"/>
            </a:solidFill>
            <a:ln w="2224" cap="flat">
              <a:noFill/>
              <a:prstDash val="solid"/>
              <a:miter/>
            </a:ln>
          </p:spPr>
          <p:txBody>
            <a:bodyPr rtlCol="0" anchor="ctr"/>
            <a:lstStyle/>
            <a:p>
              <a:endParaRPr lang="nl-NL"/>
            </a:p>
          </p:txBody>
        </p:sp>
        <p:grpSp>
          <p:nvGrpSpPr>
            <p:cNvPr id="16" name="Graphic 13">
              <a:extLst>
                <a:ext uri="{FF2B5EF4-FFF2-40B4-BE49-F238E27FC236}">
                  <a16:creationId xmlns:a16="http://schemas.microsoft.com/office/drawing/2014/main" id="{E68A699C-DCA0-43DD-843D-2D07459953E2}"/>
                </a:ext>
              </a:extLst>
            </p:cNvPr>
            <p:cNvGrpSpPr/>
            <p:nvPr/>
          </p:nvGrpSpPr>
          <p:grpSpPr>
            <a:xfrm>
              <a:off x="610655" y="1130302"/>
              <a:ext cx="1628994" cy="740997"/>
              <a:chOff x="610655" y="1130302"/>
              <a:chExt cx="1628994" cy="740997"/>
            </a:xfrm>
            <a:solidFill>
              <a:schemeClr val="tx1"/>
            </a:solidFill>
          </p:grpSpPr>
          <p:sp>
            <p:nvSpPr>
              <p:cNvPr id="17" name="Graphic 13">
                <a:extLst>
                  <a:ext uri="{FF2B5EF4-FFF2-40B4-BE49-F238E27FC236}">
                    <a16:creationId xmlns:a16="http://schemas.microsoft.com/office/drawing/2014/main" id="{40CFA024-E633-4524-B2E7-B11DFB6F9495}"/>
                  </a:ext>
                </a:extLst>
              </p:cNvPr>
              <p:cNvSpPr/>
              <p:nvPr/>
            </p:nvSpPr>
            <p:spPr>
              <a:xfrm>
                <a:off x="1171083" y="1566053"/>
                <a:ext cx="397284" cy="305246"/>
              </a:xfrm>
              <a:custGeom>
                <a:avLst/>
                <a:gdLst>
                  <a:gd name="connsiteX0" fmla="*/ 397284 w 397284"/>
                  <a:gd name="connsiteY0" fmla="*/ 109933 h 305246"/>
                  <a:gd name="connsiteX1" fmla="*/ 397284 w 397284"/>
                  <a:gd name="connsiteY1" fmla="*/ 192801 h 305246"/>
                  <a:gd name="connsiteX2" fmla="*/ 291695 w 397284"/>
                  <a:gd name="connsiteY2" fmla="*/ 304850 h 305246"/>
                  <a:gd name="connsiteX3" fmla="*/ 204595 w 397284"/>
                  <a:gd name="connsiteY3" fmla="*/ 275446 h 305246"/>
                  <a:gd name="connsiteX4" fmla="*/ 191898 w 397284"/>
                  <a:gd name="connsiteY4" fmla="*/ 275669 h 305246"/>
                  <a:gd name="connsiteX5" fmla="*/ 143781 w 397284"/>
                  <a:gd name="connsiteY5" fmla="*/ 301509 h 305246"/>
                  <a:gd name="connsiteX6" fmla="*/ 15024 w 397284"/>
                  <a:gd name="connsiteY6" fmla="*/ 251610 h 305246"/>
                  <a:gd name="connsiteX7" fmla="*/ 99 w 397284"/>
                  <a:gd name="connsiteY7" fmla="*/ 195474 h 305246"/>
                  <a:gd name="connsiteX8" fmla="*/ 99 w 397284"/>
                  <a:gd name="connsiteY8" fmla="*/ 21942 h 305246"/>
                  <a:gd name="connsiteX9" fmla="*/ 21261 w 397284"/>
                  <a:gd name="connsiteY9" fmla="*/ 780 h 305246"/>
                  <a:gd name="connsiteX10" fmla="*/ 40196 w 397284"/>
                  <a:gd name="connsiteY10" fmla="*/ 780 h 305246"/>
                  <a:gd name="connsiteX11" fmla="*/ 60022 w 397284"/>
                  <a:gd name="connsiteY11" fmla="*/ 20606 h 305246"/>
                  <a:gd name="connsiteX12" fmla="*/ 60022 w 397284"/>
                  <a:gd name="connsiteY12" fmla="*/ 58921 h 305246"/>
                  <a:gd name="connsiteX13" fmla="*/ 60022 w 397284"/>
                  <a:gd name="connsiteY13" fmla="*/ 192801 h 305246"/>
                  <a:gd name="connsiteX14" fmla="*/ 94996 w 397284"/>
                  <a:gd name="connsiteY14" fmla="*/ 245373 h 305246"/>
                  <a:gd name="connsiteX15" fmla="*/ 168953 w 397284"/>
                  <a:gd name="connsiteY15" fmla="*/ 190128 h 305246"/>
                  <a:gd name="connsiteX16" fmla="*/ 168953 w 397284"/>
                  <a:gd name="connsiteY16" fmla="*/ 22165 h 305246"/>
                  <a:gd name="connsiteX17" fmla="*/ 190561 w 397284"/>
                  <a:gd name="connsiteY17" fmla="*/ 557 h 305246"/>
                  <a:gd name="connsiteX18" fmla="*/ 209941 w 397284"/>
                  <a:gd name="connsiteY18" fmla="*/ 557 h 305246"/>
                  <a:gd name="connsiteX19" fmla="*/ 228208 w 397284"/>
                  <a:gd name="connsiteY19" fmla="*/ 18155 h 305246"/>
                  <a:gd name="connsiteX20" fmla="*/ 228431 w 397284"/>
                  <a:gd name="connsiteY20" fmla="*/ 24170 h 305246"/>
                  <a:gd name="connsiteX21" fmla="*/ 228431 w 397284"/>
                  <a:gd name="connsiteY21" fmla="*/ 189905 h 305246"/>
                  <a:gd name="connsiteX22" fmla="*/ 248479 w 397284"/>
                  <a:gd name="connsiteY22" fmla="*/ 237576 h 305246"/>
                  <a:gd name="connsiteX23" fmla="*/ 307288 w 397284"/>
                  <a:gd name="connsiteY23" fmla="*/ 243145 h 305246"/>
                  <a:gd name="connsiteX24" fmla="*/ 337139 w 397284"/>
                  <a:gd name="connsiteY24" fmla="*/ 193692 h 305246"/>
                  <a:gd name="connsiteX25" fmla="*/ 337139 w 397284"/>
                  <a:gd name="connsiteY25" fmla="*/ 23501 h 305246"/>
                  <a:gd name="connsiteX26" fmla="*/ 338698 w 397284"/>
                  <a:gd name="connsiteY26" fmla="*/ 11918 h 305246"/>
                  <a:gd name="connsiteX27" fmla="*/ 354291 w 397284"/>
                  <a:gd name="connsiteY27" fmla="*/ 334 h 305246"/>
                  <a:gd name="connsiteX28" fmla="*/ 380355 w 397284"/>
                  <a:gd name="connsiteY28" fmla="*/ 334 h 305246"/>
                  <a:gd name="connsiteX29" fmla="*/ 397062 w 397284"/>
                  <a:gd name="connsiteY29" fmla="*/ 19492 h 305246"/>
                  <a:gd name="connsiteX30" fmla="*/ 397284 w 397284"/>
                  <a:gd name="connsiteY30" fmla="*/ 109933 h 30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97284" h="305246">
                    <a:moveTo>
                      <a:pt x="397284" y="109933"/>
                    </a:moveTo>
                    <a:lnTo>
                      <a:pt x="397284" y="192801"/>
                    </a:lnTo>
                    <a:cubicBezTo>
                      <a:pt x="397284" y="255397"/>
                      <a:pt x="354291" y="301063"/>
                      <a:pt x="291695" y="304850"/>
                    </a:cubicBezTo>
                    <a:cubicBezTo>
                      <a:pt x="258503" y="306855"/>
                      <a:pt x="229099" y="298613"/>
                      <a:pt x="204595" y="275446"/>
                    </a:cubicBezTo>
                    <a:cubicBezTo>
                      <a:pt x="200140" y="271213"/>
                      <a:pt x="197244" y="271436"/>
                      <a:pt x="191898" y="275669"/>
                    </a:cubicBezTo>
                    <a:cubicBezTo>
                      <a:pt x="177418" y="287252"/>
                      <a:pt x="161825" y="296831"/>
                      <a:pt x="143781" y="301509"/>
                    </a:cubicBezTo>
                    <a:cubicBezTo>
                      <a:pt x="96778" y="313315"/>
                      <a:pt x="40865" y="297277"/>
                      <a:pt x="15024" y="251610"/>
                    </a:cubicBezTo>
                    <a:cubicBezTo>
                      <a:pt x="5223" y="234235"/>
                      <a:pt x="99" y="215300"/>
                      <a:pt x="99" y="195474"/>
                    </a:cubicBezTo>
                    <a:cubicBezTo>
                      <a:pt x="-124" y="137556"/>
                      <a:pt x="99" y="79860"/>
                      <a:pt x="99" y="21942"/>
                    </a:cubicBezTo>
                    <a:cubicBezTo>
                      <a:pt x="99" y="7685"/>
                      <a:pt x="7005" y="1002"/>
                      <a:pt x="21261" y="780"/>
                    </a:cubicBezTo>
                    <a:cubicBezTo>
                      <a:pt x="27499" y="780"/>
                      <a:pt x="33959" y="780"/>
                      <a:pt x="40196" y="780"/>
                    </a:cubicBezTo>
                    <a:cubicBezTo>
                      <a:pt x="52671" y="1002"/>
                      <a:pt x="59799" y="7908"/>
                      <a:pt x="60022" y="20606"/>
                    </a:cubicBezTo>
                    <a:cubicBezTo>
                      <a:pt x="60245" y="33303"/>
                      <a:pt x="60022" y="46223"/>
                      <a:pt x="60022" y="58921"/>
                    </a:cubicBezTo>
                    <a:cubicBezTo>
                      <a:pt x="60022" y="103473"/>
                      <a:pt x="60022" y="148248"/>
                      <a:pt x="60022" y="192801"/>
                    </a:cubicBezTo>
                    <a:cubicBezTo>
                      <a:pt x="60022" y="217973"/>
                      <a:pt x="73165" y="238467"/>
                      <a:pt x="94996" y="245373"/>
                    </a:cubicBezTo>
                    <a:cubicBezTo>
                      <a:pt x="131306" y="257179"/>
                      <a:pt x="168953" y="237131"/>
                      <a:pt x="168953" y="190128"/>
                    </a:cubicBezTo>
                    <a:cubicBezTo>
                      <a:pt x="169176" y="134214"/>
                      <a:pt x="168953" y="78301"/>
                      <a:pt x="168953" y="22165"/>
                    </a:cubicBezTo>
                    <a:cubicBezTo>
                      <a:pt x="168953" y="6794"/>
                      <a:pt x="175190" y="557"/>
                      <a:pt x="190561" y="557"/>
                    </a:cubicBezTo>
                    <a:cubicBezTo>
                      <a:pt x="197021" y="557"/>
                      <a:pt x="203481" y="334"/>
                      <a:pt x="209941" y="557"/>
                    </a:cubicBezTo>
                    <a:cubicBezTo>
                      <a:pt x="220857" y="1002"/>
                      <a:pt x="227317" y="7017"/>
                      <a:pt x="228208" y="18155"/>
                    </a:cubicBezTo>
                    <a:cubicBezTo>
                      <a:pt x="228431" y="20160"/>
                      <a:pt x="228431" y="22165"/>
                      <a:pt x="228431" y="24170"/>
                    </a:cubicBezTo>
                    <a:cubicBezTo>
                      <a:pt x="228431" y="80083"/>
                      <a:pt x="228431" y="133769"/>
                      <a:pt x="228431" y="189905"/>
                    </a:cubicBezTo>
                    <a:cubicBezTo>
                      <a:pt x="228431" y="207949"/>
                      <a:pt x="233331" y="226438"/>
                      <a:pt x="248479" y="237576"/>
                    </a:cubicBezTo>
                    <a:cubicBezTo>
                      <a:pt x="266746" y="251165"/>
                      <a:pt x="287017" y="252278"/>
                      <a:pt x="307288" y="243145"/>
                    </a:cubicBezTo>
                    <a:cubicBezTo>
                      <a:pt x="328005" y="233789"/>
                      <a:pt x="336916" y="215745"/>
                      <a:pt x="337139" y="193692"/>
                    </a:cubicBezTo>
                    <a:cubicBezTo>
                      <a:pt x="337584" y="137110"/>
                      <a:pt x="337361" y="80306"/>
                      <a:pt x="337139" y="23501"/>
                    </a:cubicBezTo>
                    <a:cubicBezTo>
                      <a:pt x="337139" y="19492"/>
                      <a:pt x="337361" y="15705"/>
                      <a:pt x="338698" y="11918"/>
                    </a:cubicBezTo>
                    <a:cubicBezTo>
                      <a:pt x="341148" y="4567"/>
                      <a:pt x="346717" y="780"/>
                      <a:pt x="354291" y="334"/>
                    </a:cubicBezTo>
                    <a:cubicBezTo>
                      <a:pt x="362979" y="-111"/>
                      <a:pt x="371667" y="-111"/>
                      <a:pt x="380355" y="334"/>
                    </a:cubicBezTo>
                    <a:cubicBezTo>
                      <a:pt x="390824" y="1002"/>
                      <a:pt x="397062" y="8354"/>
                      <a:pt x="397062" y="19492"/>
                    </a:cubicBezTo>
                    <a:cubicBezTo>
                      <a:pt x="397284" y="49787"/>
                      <a:pt x="397284" y="79860"/>
                      <a:pt x="397284" y="109933"/>
                    </a:cubicBezTo>
                  </a:path>
                </a:pathLst>
              </a:custGeom>
              <a:grpFill/>
              <a:ln w="2224" cap="flat">
                <a:noFill/>
                <a:prstDash val="solid"/>
                <a:miter/>
              </a:ln>
            </p:spPr>
            <p:txBody>
              <a:bodyPr rtlCol="0" anchor="ctr"/>
              <a:lstStyle/>
              <a:p>
                <a:endParaRPr lang="nl-NL"/>
              </a:p>
            </p:txBody>
          </p:sp>
          <p:sp>
            <p:nvSpPr>
              <p:cNvPr id="18" name="Graphic 13">
                <a:extLst>
                  <a:ext uri="{FF2B5EF4-FFF2-40B4-BE49-F238E27FC236}">
                    <a16:creationId xmlns:a16="http://schemas.microsoft.com/office/drawing/2014/main" id="{90EFC42B-3C03-43D2-9DEF-4A5415CD0598}"/>
                  </a:ext>
                </a:extLst>
              </p:cNvPr>
              <p:cNvSpPr/>
              <p:nvPr/>
            </p:nvSpPr>
            <p:spPr>
              <a:xfrm>
                <a:off x="859760" y="1137519"/>
                <a:ext cx="244815" cy="449808"/>
              </a:xfrm>
              <a:custGeom>
                <a:avLst/>
                <a:gdLst>
                  <a:gd name="connsiteX0" fmla="*/ 244816 w 244815"/>
                  <a:gd name="connsiteY0" fmla="*/ 225041 h 449808"/>
                  <a:gd name="connsiteX1" fmla="*/ 244816 w 244815"/>
                  <a:gd name="connsiteY1" fmla="*/ 427977 h 449808"/>
                  <a:gd name="connsiteX2" fmla="*/ 223208 w 244815"/>
                  <a:gd name="connsiteY2" fmla="*/ 449808 h 449808"/>
                  <a:gd name="connsiteX3" fmla="*/ 207615 w 244815"/>
                  <a:gd name="connsiteY3" fmla="*/ 449808 h 449808"/>
                  <a:gd name="connsiteX4" fmla="*/ 184893 w 244815"/>
                  <a:gd name="connsiteY4" fmla="*/ 426864 h 449808"/>
                  <a:gd name="connsiteX5" fmla="*/ 184893 w 244815"/>
                  <a:gd name="connsiteY5" fmla="*/ 309691 h 449808"/>
                  <a:gd name="connsiteX6" fmla="*/ 184893 w 244815"/>
                  <a:gd name="connsiteY6" fmla="*/ 306349 h 449808"/>
                  <a:gd name="connsiteX7" fmla="*/ 176428 w 244815"/>
                  <a:gd name="connsiteY7" fmla="*/ 297884 h 449808"/>
                  <a:gd name="connsiteX8" fmla="*/ 110936 w 244815"/>
                  <a:gd name="connsiteY8" fmla="*/ 297884 h 449808"/>
                  <a:gd name="connsiteX9" fmla="*/ 0 w 244815"/>
                  <a:gd name="connsiteY9" fmla="*/ 186948 h 449808"/>
                  <a:gd name="connsiteX10" fmla="*/ 0 w 244815"/>
                  <a:gd name="connsiteY10" fmla="*/ 110318 h 449808"/>
                  <a:gd name="connsiteX11" fmla="*/ 101134 w 244815"/>
                  <a:gd name="connsiteY11" fmla="*/ 942 h 449808"/>
                  <a:gd name="connsiteX12" fmla="*/ 173309 w 244815"/>
                  <a:gd name="connsiteY12" fmla="*/ 273 h 449808"/>
                  <a:gd name="connsiteX13" fmla="*/ 223876 w 244815"/>
                  <a:gd name="connsiteY13" fmla="*/ 273 h 449808"/>
                  <a:gd name="connsiteX14" fmla="*/ 244816 w 244815"/>
                  <a:gd name="connsiteY14" fmla="*/ 20990 h 449808"/>
                  <a:gd name="connsiteX15" fmla="*/ 244816 w 244815"/>
                  <a:gd name="connsiteY15" fmla="*/ 225041 h 449808"/>
                  <a:gd name="connsiteX16" fmla="*/ 184893 w 244815"/>
                  <a:gd name="connsiteY16" fmla="*/ 148856 h 449808"/>
                  <a:gd name="connsiteX17" fmla="*/ 184893 w 244815"/>
                  <a:gd name="connsiteY17" fmla="*/ 64429 h 449808"/>
                  <a:gd name="connsiteX18" fmla="*/ 177764 w 244815"/>
                  <a:gd name="connsiteY18" fmla="*/ 56410 h 449808"/>
                  <a:gd name="connsiteX19" fmla="*/ 111604 w 244815"/>
                  <a:gd name="connsiteY19" fmla="*/ 56410 h 449808"/>
                  <a:gd name="connsiteX20" fmla="*/ 59923 w 244815"/>
                  <a:gd name="connsiteY20" fmla="*/ 105640 h 449808"/>
                  <a:gd name="connsiteX21" fmla="*/ 59700 w 244815"/>
                  <a:gd name="connsiteY21" fmla="*/ 188285 h 449808"/>
                  <a:gd name="connsiteX22" fmla="*/ 116728 w 244815"/>
                  <a:gd name="connsiteY22" fmla="*/ 240857 h 449808"/>
                  <a:gd name="connsiteX23" fmla="*/ 174423 w 244815"/>
                  <a:gd name="connsiteY23" fmla="*/ 240857 h 449808"/>
                  <a:gd name="connsiteX24" fmla="*/ 184670 w 244815"/>
                  <a:gd name="connsiteY24" fmla="*/ 230833 h 449808"/>
                  <a:gd name="connsiteX25" fmla="*/ 184670 w 244815"/>
                  <a:gd name="connsiteY25" fmla="*/ 148856 h 449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4815" h="449808">
                    <a:moveTo>
                      <a:pt x="244816" y="225041"/>
                    </a:moveTo>
                    <a:lnTo>
                      <a:pt x="244816" y="427977"/>
                    </a:lnTo>
                    <a:cubicBezTo>
                      <a:pt x="244816" y="443125"/>
                      <a:pt x="238356" y="449585"/>
                      <a:pt x="223208" y="449808"/>
                    </a:cubicBezTo>
                    <a:cubicBezTo>
                      <a:pt x="218084" y="449808"/>
                      <a:pt x="212738" y="449808"/>
                      <a:pt x="207615" y="449808"/>
                    </a:cubicBezTo>
                    <a:cubicBezTo>
                      <a:pt x="191130" y="449808"/>
                      <a:pt x="184893" y="443348"/>
                      <a:pt x="184893" y="426864"/>
                    </a:cubicBezTo>
                    <a:cubicBezTo>
                      <a:pt x="184893" y="387880"/>
                      <a:pt x="184893" y="348674"/>
                      <a:pt x="184893" y="309691"/>
                    </a:cubicBezTo>
                    <a:cubicBezTo>
                      <a:pt x="184893" y="308577"/>
                      <a:pt x="184893" y="307463"/>
                      <a:pt x="184893" y="306349"/>
                    </a:cubicBezTo>
                    <a:cubicBezTo>
                      <a:pt x="184893" y="299221"/>
                      <a:pt x="183556" y="297884"/>
                      <a:pt x="176428" y="297884"/>
                    </a:cubicBezTo>
                    <a:cubicBezTo>
                      <a:pt x="154597" y="297884"/>
                      <a:pt x="132766" y="297884"/>
                      <a:pt x="110936" y="297884"/>
                    </a:cubicBezTo>
                    <a:cubicBezTo>
                      <a:pt x="48562" y="297884"/>
                      <a:pt x="0" y="249322"/>
                      <a:pt x="0" y="186948"/>
                    </a:cubicBezTo>
                    <a:cubicBezTo>
                      <a:pt x="0" y="161331"/>
                      <a:pt x="0" y="135713"/>
                      <a:pt x="0" y="110318"/>
                    </a:cubicBezTo>
                    <a:cubicBezTo>
                      <a:pt x="0" y="51732"/>
                      <a:pt x="42770" y="5397"/>
                      <a:pt x="101134" y="942"/>
                    </a:cubicBezTo>
                    <a:cubicBezTo>
                      <a:pt x="125192" y="-840"/>
                      <a:pt x="149251" y="496"/>
                      <a:pt x="173309" y="273"/>
                    </a:cubicBezTo>
                    <a:cubicBezTo>
                      <a:pt x="190239" y="51"/>
                      <a:pt x="206946" y="273"/>
                      <a:pt x="223876" y="273"/>
                    </a:cubicBezTo>
                    <a:cubicBezTo>
                      <a:pt x="237910" y="273"/>
                      <a:pt x="244816" y="7179"/>
                      <a:pt x="244816" y="20990"/>
                    </a:cubicBezTo>
                    <a:cubicBezTo>
                      <a:pt x="244816" y="88710"/>
                      <a:pt x="244816" y="156875"/>
                      <a:pt x="244816" y="225041"/>
                    </a:cubicBezTo>
                    <a:moveTo>
                      <a:pt x="184893" y="148856"/>
                    </a:moveTo>
                    <a:cubicBezTo>
                      <a:pt x="184893" y="120788"/>
                      <a:pt x="184893" y="92497"/>
                      <a:pt x="184893" y="64429"/>
                    </a:cubicBezTo>
                    <a:cubicBezTo>
                      <a:pt x="184893" y="57969"/>
                      <a:pt x="183556" y="56410"/>
                      <a:pt x="177764" y="56410"/>
                    </a:cubicBezTo>
                    <a:cubicBezTo>
                      <a:pt x="155711" y="56410"/>
                      <a:pt x="133658" y="55964"/>
                      <a:pt x="111604" y="56410"/>
                    </a:cubicBezTo>
                    <a:cubicBezTo>
                      <a:pt x="84650" y="57078"/>
                      <a:pt x="61705" y="78686"/>
                      <a:pt x="59923" y="105640"/>
                    </a:cubicBezTo>
                    <a:cubicBezTo>
                      <a:pt x="58141" y="133263"/>
                      <a:pt x="58364" y="160885"/>
                      <a:pt x="59700" y="188285"/>
                    </a:cubicBezTo>
                    <a:cubicBezTo>
                      <a:pt x="61260" y="221922"/>
                      <a:pt x="83090" y="240857"/>
                      <a:pt x="116728" y="240857"/>
                    </a:cubicBezTo>
                    <a:cubicBezTo>
                      <a:pt x="135885" y="240857"/>
                      <a:pt x="155265" y="240857"/>
                      <a:pt x="174423" y="240857"/>
                    </a:cubicBezTo>
                    <a:cubicBezTo>
                      <a:pt x="184002" y="240857"/>
                      <a:pt x="184670" y="240189"/>
                      <a:pt x="184670" y="230833"/>
                    </a:cubicBezTo>
                    <a:lnTo>
                      <a:pt x="184670" y="148856"/>
                    </a:lnTo>
                    <a:close/>
                  </a:path>
                </a:pathLst>
              </a:custGeom>
              <a:grpFill/>
              <a:ln w="2224" cap="flat">
                <a:noFill/>
                <a:prstDash val="solid"/>
                <a:miter/>
              </a:ln>
            </p:spPr>
            <p:txBody>
              <a:bodyPr rtlCol="0" anchor="ctr"/>
              <a:lstStyle/>
              <a:p>
                <a:endParaRPr lang="nl-NL"/>
              </a:p>
            </p:txBody>
          </p:sp>
          <p:sp>
            <p:nvSpPr>
              <p:cNvPr id="19" name="Graphic 13">
                <a:extLst>
                  <a:ext uri="{FF2B5EF4-FFF2-40B4-BE49-F238E27FC236}">
                    <a16:creationId xmlns:a16="http://schemas.microsoft.com/office/drawing/2014/main" id="{9253C848-4439-4E01-AB8B-2F1CC2894A8E}"/>
                  </a:ext>
                </a:extLst>
              </p:cNvPr>
              <p:cNvSpPr/>
              <p:nvPr/>
            </p:nvSpPr>
            <p:spPr>
              <a:xfrm>
                <a:off x="1483718" y="1137124"/>
                <a:ext cx="244815" cy="304629"/>
              </a:xfrm>
              <a:custGeom>
                <a:avLst/>
                <a:gdLst>
                  <a:gd name="connsiteX0" fmla="*/ 244816 w 244815"/>
                  <a:gd name="connsiteY0" fmla="*/ 149028 h 304629"/>
                  <a:gd name="connsiteX1" fmla="*/ 244816 w 244815"/>
                  <a:gd name="connsiteY1" fmla="*/ 275334 h 304629"/>
                  <a:gd name="connsiteX2" fmla="*/ 222317 w 244815"/>
                  <a:gd name="connsiteY2" fmla="*/ 298056 h 304629"/>
                  <a:gd name="connsiteX3" fmla="*/ 205610 w 244815"/>
                  <a:gd name="connsiteY3" fmla="*/ 298056 h 304629"/>
                  <a:gd name="connsiteX4" fmla="*/ 184893 w 244815"/>
                  <a:gd name="connsiteY4" fmla="*/ 279567 h 304629"/>
                  <a:gd name="connsiteX5" fmla="*/ 181997 w 244815"/>
                  <a:gd name="connsiteY5" fmla="*/ 273998 h 304629"/>
                  <a:gd name="connsiteX6" fmla="*/ 176428 w 244815"/>
                  <a:gd name="connsiteY6" fmla="*/ 276448 h 304629"/>
                  <a:gd name="connsiteX7" fmla="*/ 126084 w 244815"/>
                  <a:gd name="connsiteY7" fmla="*/ 302957 h 304629"/>
                  <a:gd name="connsiteX8" fmla="*/ 50344 w 244815"/>
                  <a:gd name="connsiteY8" fmla="*/ 289146 h 304629"/>
                  <a:gd name="connsiteX9" fmla="*/ 2450 w 244815"/>
                  <a:gd name="connsiteY9" fmla="*/ 213406 h 304629"/>
                  <a:gd name="connsiteX10" fmla="*/ 0 w 244815"/>
                  <a:gd name="connsiteY10" fmla="*/ 186452 h 304629"/>
                  <a:gd name="connsiteX11" fmla="*/ 0 w 244815"/>
                  <a:gd name="connsiteY11" fmla="*/ 124747 h 304629"/>
                  <a:gd name="connsiteX12" fmla="*/ 107372 w 244815"/>
                  <a:gd name="connsiteY12" fmla="*/ 1114 h 304629"/>
                  <a:gd name="connsiteX13" fmla="*/ 123410 w 244815"/>
                  <a:gd name="connsiteY13" fmla="*/ 0 h 304629"/>
                  <a:gd name="connsiteX14" fmla="*/ 222317 w 244815"/>
                  <a:gd name="connsiteY14" fmla="*/ 0 h 304629"/>
                  <a:gd name="connsiteX15" fmla="*/ 244816 w 244815"/>
                  <a:gd name="connsiteY15" fmla="*/ 22722 h 304629"/>
                  <a:gd name="connsiteX16" fmla="*/ 244816 w 244815"/>
                  <a:gd name="connsiteY16" fmla="*/ 149028 h 304629"/>
                  <a:gd name="connsiteX17" fmla="*/ 184893 w 244815"/>
                  <a:gd name="connsiteY17" fmla="*/ 122965 h 304629"/>
                  <a:gd name="connsiteX18" fmla="*/ 185116 w 244815"/>
                  <a:gd name="connsiteY18" fmla="*/ 122965 h 304629"/>
                  <a:gd name="connsiteX19" fmla="*/ 185116 w 244815"/>
                  <a:gd name="connsiteY19" fmla="*/ 64601 h 304629"/>
                  <a:gd name="connsiteX20" fmla="*/ 177987 w 244815"/>
                  <a:gd name="connsiteY20" fmla="*/ 56582 h 304629"/>
                  <a:gd name="connsiteX21" fmla="*/ 124079 w 244815"/>
                  <a:gd name="connsiteY21" fmla="*/ 56582 h 304629"/>
                  <a:gd name="connsiteX22" fmla="*/ 60591 w 244815"/>
                  <a:gd name="connsiteY22" fmla="*/ 116505 h 304629"/>
                  <a:gd name="connsiteX23" fmla="*/ 60146 w 244815"/>
                  <a:gd name="connsiteY23" fmla="*/ 196031 h 304629"/>
                  <a:gd name="connsiteX24" fmla="*/ 81531 w 244815"/>
                  <a:gd name="connsiteY24" fmla="*/ 237910 h 304629"/>
                  <a:gd name="connsiteX25" fmla="*/ 134326 w 244815"/>
                  <a:gd name="connsiteY25" fmla="*/ 245930 h 304629"/>
                  <a:gd name="connsiteX26" fmla="*/ 185116 w 244815"/>
                  <a:gd name="connsiteY26" fmla="*/ 181329 h 304629"/>
                  <a:gd name="connsiteX27" fmla="*/ 184893 w 244815"/>
                  <a:gd name="connsiteY27" fmla="*/ 122965 h 30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44815" h="304629">
                    <a:moveTo>
                      <a:pt x="244816" y="149028"/>
                    </a:moveTo>
                    <a:cubicBezTo>
                      <a:pt x="244816" y="191130"/>
                      <a:pt x="244816" y="233232"/>
                      <a:pt x="244816" y="275334"/>
                    </a:cubicBezTo>
                    <a:cubicBezTo>
                      <a:pt x="244816" y="291596"/>
                      <a:pt x="238579" y="298056"/>
                      <a:pt x="222317" y="298056"/>
                    </a:cubicBezTo>
                    <a:cubicBezTo>
                      <a:pt x="216748" y="298056"/>
                      <a:pt x="211179" y="298056"/>
                      <a:pt x="205610" y="298056"/>
                    </a:cubicBezTo>
                    <a:cubicBezTo>
                      <a:pt x="193581" y="298056"/>
                      <a:pt x="186229" y="291596"/>
                      <a:pt x="184893" y="279567"/>
                    </a:cubicBezTo>
                    <a:cubicBezTo>
                      <a:pt x="184670" y="277339"/>
                      <a:pt x="184447" y="275112"/>
                      <a:pt x="181997" y="273998"/>
                    </a:cubicBezTo>
                    <a:cubicBezTo>
                      <a:pt x="179324" y="272884"/>
                      <a:pt x="177764" y="274889"/>
                      <a:pt x="176428" y="276448"/>
                    </a:cubicBezTo>
                    <a:cubicBezTo>
                      <a:pt x="163508" y="292487"/>
                      <a:pt x="145909" y="300061"/>
                      <a:pt x="126084" y="302957"/>
                    </a:cubicBezTo>
                    <a:cubicBezTo>
                      <a:pt x="99352" y="306967"/>
                      <a:pt x="73512" y="304294"/>
                      <a:pt x="50344" y="289146"/>
                    </a:cubicBezTo>
                    <a:cubicBezTo>
                      <a:pt x="22722" y="271325"/>
                      <a:pt x="8910" y="244816"/>
                      <a:pt x="2450" y="213406"/>
                    </a:cubicBezTo>
                    <a:cubicBezTo>
                      <a:pt x="668" y="204496"/>
                      <a:pt x="0" y="195363"/>
                      <a:pt x="0" y="186452"/>
                    </a:cubicBezTo>
                    <a:cubicBezTo>
                      <a:pt x="223" y="165958"/>
                      <a:pt x="0" y="145241"/>
                      <a:pt x="0" y="124747"/>
                    </a:cubicBezTo>
                    <a:cubicBezTo>
                      <a:pt x="0" y="60814"/>
                      <a:pt x="44107" y="10024"/>
                      <a:pt x="107372" y="1114"/>
                    </a:cubicBezTo>
                    <a:cubicBezTo>
                      <a:pt x="112718" y="446"/>
                      <a:pt x="118064" y="0"/>
                      <a:pt x="123410" y="0"/>
                    </a:cubicBezTo>
                    <a:cubicBezTo>
                      <a:pt x="156379" y="0"/>
                      <a:pt x="189348" y="0"/>
                      <a:pt x="222317" y="0"/>
                    </a:cubicBezTo>
                    <a:cubicBezTo>
                      <a:pt x="238356" y="0"/>
                      <a:pt x="244816" y="6460"/>
                      <a:pt x="244816" y="22722"/>
                    </a:cubicBezTo>
                    <a:cubicBezTo>
                      <a:pt x="244816" y="64824"/>
                      <a:pt x="244816" y="106926"/>
                      <a:pt x="244816" y="149028"/>
                    </a:cubicBezTo>
                    <a:moveTo>
                      <a:pt x="184893" y="122965"/>
                    </a:moveTo>
                    <a:lnTo>
                      <a:pt x="185116" y="122965"/>
                    </a:lnTo>
                    <a:cubicBezTo>
                      <a:pt x="185116" y="103585"/>
                      <a:pt x="185116" y="83981"/>
                      <a:pt x="185116" y="64601"/>
                    </a:cubicBezTo>
                    <a:cubicBezTo>
                      <a:pt x="185116" y="58141"/>
                      <a:pt x="183556" y="56582"/>
                      <a:pt x="177987" y="56582"/>
                    </a:cubicBezTo>
                    <a:cubicBezTo>
                      <a:pt x="159943" y="56582"/>
                      <a:pt x="142122" y="56136"/>
                      <a:pt x="124079" y="56582"/>
                    </a:cubicBezTo>
                    <a:cubicBezTo>
                      <a:pt x="90219" y="57473"/>
                      <a:pt x="63042" y="82645"/>
                      <a:pt x="60591" y="116505"/>
                    </a:cubicBezTo>
                    <a:cubicBezTo>
                      <a:pt x="58586" y="143014"/>
                      <a:pt x="59700" y="169522"/>
                      <a:pt x="60146" y="196031"/>
                    </a:cubicBezTo>
                    <a:cubicBezTo>
                      <a:pt x="60591" y="212961"/>
                      <a:pt x="67274" y="227886"/>
                      <a:pt x="81531" y="237910"/>
                    </a:cubicBezTo>
                    <a:cubicBezTo>
                      <a:pt x="97570" y="249494"/>
                      <a:pt x="115836" y="249940"/>
                      <a:pt x="134326" y="245930"/>
                    </a:cubicBezTo>
                    <a:cubicBezTo>
                      <a:pt x="162839" y="239470"/>
                      <a:pt x="184002" y="212293"/>
                      <a:pt x="185116" y="181329"/>
                    </a:cubicBezTo>
                    <a:cubicBezTo>
                      <a:pt x="185338" y="161948"/>
                      <a:pt x="184893" y="142345"/>
                      <a:pt x="184893" y="122965"/>
                    </a:cubicBezTo>
                  </a:path>
                </a:pathLst>
              </a:custGeom>
              <a:grpFill/>
              <a:ln w="2224" cap="flat">
                <a:noFill/>
                <a:prstDash val="solid"/>
                <a:miter/>
              </a:ln>
            </p:spPr>
            <p:txBody>
              <a:bodyPr rtlCol="0" anchor="ctr"/>
              <a:lstStyle/>
              <a:p>
                <a:endParaRPr lang="nl-NL"/>
              </a:p>
            </p:txBody>
          </p:sp>
          <p:sp>
            <p:nvSpPr>
              <p:cNvPr id="20" name="Graphic 13">
                <a:extLst>
                  <a:ext uri="{FF2B5EF4-FFF2-40B4-BE49-F238E27FC236}">
                    <a16:creationId xmlns:a16="http://schemas.microsoft.com/office/drawing/2014/main" id="{2E14E868-6DC7-4C1F-B7AF-ADD86888F66E}"/>
                  </a:ext>
                </a:extLst>
              </p:cNvPr>
              <p:cNvSpPr/>
              <p:nvPr/>
            </p:nvSpPr>
            <p:spPr>
              <a:xfrm>
                <a:off x="2004481" y="1559621"/>
                <a:ext cx="235169" cy="311281"/>
              </a:xfrm>
              <a:custGeom>
                <a:avLst/>
                <a:gdLst>
                  <a:gd name="connsiteX0" fmla="*/ 142178 w 235169"/>
                  <a:gd name="connsiteY0" fmla="*/ 177180 h 311281"/>
                  <a:gd name="connsiteX1" fmla="*/ 69335 w 235169"/>
                  <a:gd name="connsiteY1" fmla="*/ 177180 h 311281"/>
                  <a:gd name="connsiteX2" fmla="*/ 60424 w 235169"/>
                  <a:gd name="connsiteY2" fmla="*/ 186313 h 311281"/>
                  <a:gd name="connsiteX3" fmla="*/ 63098 w 235169"/>
                  <a:gd name="connsiteY3" fmla="*/ 215495 h 311281"/>
                  <a:gd name="connsiteX4" fmla="*/ 117229 w 235169"/>
                  <a:gd name="connsiteY4" fmla="*/ 255146 h 311281"/>
                  <a:gd name="connsiteX5" fmla="*/ 182053 w 235169"/>
                  <a:gd name="connsiteY5" fmla="*/ 229306 h 311281"/>
                  <a:gd name="connsiteX6" fmla="*/ 210343 w 235169"/>
                  <a:gd name="connsiteY6" fmla="*/ 228861 h 311281"/>
                  <a:gd name="connsiteX7" fmla="*/ 221036 w 235169"/>
                  <a:gd name="connsiteY7" fmla="*/ 238439 h 311281"/>
                  <a:gd name="connsiteX8" fmla="*/ 224377 w 235169"/>
                  <a:gd name="connsiteY8" fmla="*/ 264280 h 311281"/>
                  <a:gd name="connsiteX9" fmla="*/ 217249 w 235169"/>
                  <a:gd name="connsiteY9" fmla="*/ 272745 h 311281"/>
                  <a:gd name="connsiteX10" fmla="*/ 130595 w 235169"/>
                  <a:gd name="connsiteY10" fmla="*/ 311060 h 311281"/>
                  <a:gd name="connsiteX11" fmla="*/ 42158 w 235169"/>
                  <a:gd name="connsiteY11" fmla="*/ 285219 h 311281"/>
                  <a:gd name="connsiteX12" fmla="*/ 501 w 235169"/>
                  <a:gd name="connsiteY12" fmla="*/ 198565 h 311281"/>
                  <a:gd name="connsiteX13" fmla="*/ 501 w 235169"/>
                  <a:gd name="connsiteY13" fmla="*/ 114138 h 311281"/>
                  <a:gd name="connsiteX14" fmla="*/ 68444 w 235169"/>
                  <a:gd name="connsiteY14" fmla="*/ 8994 h 311281"/>
                  <a:gd name="connsiteX15" fmla="*/ 211457 w 235169"/>
                  <a:gd name="connsiteY15" fmla="*/ 44191 h 311281"/>
                  <a:gd name="connsiteX16" fmla="*/ 235070 w 235169"/>
                  <a:gd name="connsiteY16" fmla="*/ 113247 h 311281"/>
                  <a:gd name="connsiteX17" fmla="*/ 235070 w 235169"/>
                  <a:gd name="connsiteY17" fmla="*/ 156686 h 311281"/>
                  <a:gd name="connsiteX18" fmla="*/ 214576 w 235169"/>
                  <a:gd name="connsiteY18" fmla="*/ 177180 h 311281"/>
                  <a:gd name="connsiteX19" fmla="*/ 142178 w 235169"/>
                  <a:gd name="connsiteY19" fmla="*/ 177180 h 311281"/>
                  <a:gd name="connsiteX20" fmla="*/ 117674 w 235169"/>
                  <a:gd name="connsiteY20" fmla="*/ 127281 h 311281"/>
                  <a:gd name="connsiteX21" fmla="*/ 168241 w 235169"/>
                  <a:gd name="connsiteY21" fmla="*/ 127281 h 311281"/>
                  <a:gd name="connsiteX22" fmla="*/ 175815 w 235169"/>
                  <a:gd name="connsiteY22" fmla="*/ 119707 h 311281"/>
                  <a:gd name="connsiteX23" fmla="*/ 174701 w 235169"/>
                  <a:gd name="connsiteY23" fmla="*/ 104782 h 311281"/>
                  <a:gd name="connsiteX24" fmla="*/ 138837 w 235169"/>
                  <a:gd name="connsiteY24" fmla="*/ 59784 h 311281"/>
                  <a:gd name="connsiteX25" fmla="*/ 101413 w 235169"/>
                  <a:gd name="connsiteY25" fmla="*/ 58225 h 311281"/>
                  <a:gd name="connsiteX26" fmla="*/ 66662 w 235169"/>
                  <a:gd name="connsiteY26" fmla="*/ 85624 h 311281"/>
                  <a:gd name="connsiteX27" fmla="*/ 60202 w 235169"/>
                  <a:gd name="connsiteY27" fmla="*/ 119707 h 311281"/>
                  <a:gd name="connsiteX28" fmla="*/ 68221 w 235169"/>
                  <a:gd name="connsiteY28" fmla="*/ 127504 h 311281"/>
                  <a:gd name="connsiteX29" fmla="*/ 117674 w 235169"/>
                  <a:gd name="connsiteY29" fmla="*/ 127281 h 31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35169" h="311281">
                    <a:moveTo>
                      <a:pt x="142178" y="177180"/>
                    </a:moveTo>
                    <a:cubicBezTo>
                      <a:pt x="117897" y="177180"/>
                      <a:pt x="93616" y="177180"/>
                      <a:pt x="69335" y="177180"/>
                    </a:cubicBezTo>
                    <a:cubicBezTo>
                      <a:pt x="61761" y="177180"/>
                      <a:pt x="60424" y="178516"/>
                      <a:pt x="60424" y="186313"/>
                    </a:cubicBezTo>
                    <a:cubicBezTo>
                      <a:pt x="60424" y="196114"/>
                      <a:pt x="60202" y="205916"/>
                      <a:pt x="63098" y="215495"/>
                    </a:cubicBezTo>
                    <a:cubicBezTo>
                      <a:pt x="70449" y="240222"/>
                      <a:pt x="90052" y="253810"/>
                      <a:pt x="117229" y="255146"/>
                    </a:cubicBezTo>
                    <a:cubicBezTo>
                      <a:pt x="143069" y="256260"/>
                      <a:pt x="164232" y="247795"/>
                      <a:pt x="182053" y="229306"/>
                    </a:cubicBezTo>
                    <a:cubicBezTo>
                      <a:pt x="191186" y="219727"/>
                      <a:pt x="200542" y="219950"/>
                      <a:pt x="210343" y="228861"/>
                    </a:cubicBezTo>
                    <a:cubicBezTo>
                      <a:pt x="213908" y="231979"/>
                      <a:pt x="217472" y="235321"/>
                      <a:pt x="221036" y="238439"/>
                    </a:cubicBezTo>
                    <a:cubicBezTo>
                      <a:pt x="229278" y="246013"/>
                      <a:pt x="230615" y="254924"/>
                      <a:pt x="224377" y="264280"/>
                    </a:cubicBezTo>
                    <a:cubicBezTo>
                      <a:pt x="222373" y="267398"/>
                      <a:pt x="219922" y="270294"/>
                      <a:pt x="217249" y="272745"/>
                    </a:cubicBezTo>
                    <a:cubicBezTo>
                      <a:pt x="193191" y="296358"/>
                      <a:pt x="164454" y="309501"/>
                      <a:pt x="130595" y="311060"/>
                    </a:cubicBezTo>
                    <a:cubicBezTo>
                      <a:pt x="98071" y="312619"/>
                      <a:pt x="67998" y="306159"/>
                      <a:pt x="42158" y="285219"/>
                    </a:cubicBezTo>
                    <a:cubicBezTo>
                      <a:pt x="14758" y="262943"/>
                      <a:pt x="1392" y="233539"/>
                      <a:pt x="501" y="198565"/>
                    </a:cubicBezTo>
                    <a:cubicBezTo>
                      <a:pt x="-167" y="170497"/>
                      <a:pt x="-167" y="142206"/>
                      <a:pt x="501" y="114138"/>
                    </a:cubicBezTo>
                    <a:cubicBezTo>
                      <a:pt x="1615" y="66689"/>
                      <a:pt x="23891" y="26815"/>
                      <a:pt x="68444" y="8994"/>
                    </a:cubicBezTo>
                    <a:cubicBezTo>
                      <a:pt x="112551" y="-8604"/>
                      <a:pt x="176038" y="-2144"/>
                      <a:pt x="211457" y="44191"/>
                    </a:cubicBezTo>
                    <a:cubicBezTo>
                      <a:pt x="227051" y="64462"/>
                      <a:pt x="234625" y="87852"/>
                      <a:pt x="235070" y="113247"/>
                    </a:cubicBezTo>
                    <a:cubicBezTo>
                      <a:pt x="235293" y="127726"/>
                      <a:pt x="235070" y="142206"/>
                      <a:pt x="235070" y="156686"/>
                    </a:cubicBezTo>
                    <a:cubicBezTo>
                      <a:pt x="235070" y="170274"/>
                      <a:pt x="228164" y="177180"/>
                      <a:pt x="214576" y="177180"/>
                    </a:cubicBezTo>
                    <a:cubicBezTo>
                      <a:pt x="190740" y="177402"/>
                      <a:pt x="166459" y="177180"/>
                      <a:pt x="142178" y="177180"/>
                    </a:cubicBezTo>
                    <a:moveTo>
                      <a:pt x="117674" y="127281"/>
                    </a:moveTo>
                    <a:cubicBezTo>
                      <a:pt x="134604" y="127281"/>
                      <a:pt x="151311" y="127281"/>
                      <a:pt x="168241" y="127281"/>
                    </a:cubicBezTo>
                    <a:cubicBezTo>
                      <a:pt x="174033" y="127281"/>
                      <a:pt x="175593" y="125499"/>
                      <a:pt x="175815" y="119707"/>
                    </a:cubicBezTo>
                    <a:cubicBezTo>
                      <a:pt x="176038" y="114806"/>
                      <a:pt x="175815" y="109683"/>
                      <a:pt x="174701" y="104782"/>
                    </a:cubicBezTo>
                    <a:cubicBezTo>
                      <a:pt x="170469" y="83619"/>
                      <a:pt x="161113" y="66467"/>
                      <a:pt x="138837" y="59784"/>
                    </a:cubicBezTo>
                    <a:cubicBezTo>
                      <a:pt x="126585" y="56220"/>
                      <a:pt x="114110" y="56220"/>
                      <a:pt x="101413" y="58225"/>
                    </a:cubicBezTo>
                    <a:cubicBezTo>
                      <a:pt x="84705" y="60898"/>
                      <a:pt x="73345" y="70031"/>
                      <a:pt x="66662" y="85624"/>
                    </a:cubicBezTo>
                    <a:cubicBezTo>
                      <a:pt x="61984" y="96540"/>
                      <a:pt x="59979" y="107901"/>
                      <a:pt x="60202" y="119707"/>
                    </a:cubicBezTo>
                    <a:cubicBezTo>
                      <a:pt x="60424" y="125944"/>
                      <a:pt x="61761" y="127504"/>
                      <a:pt x="68221" y="127504"/>
                    </a:cubicBezTo>
                    <a:cubicBezTo>
                      <a:pt x="84928" y="127281"/>
                      <a:pt x="101413" y="127281"/>
                      <a:pt x="117674" y="127281"/>
                    </a:cubicBezTo>
                  </a:path>
                </a:pathLst>
              </a:custGeom>
              <a:grpFill/>
              <a:ln w="2224" cap="flat">
                <a:noFill/>
                <a:prstDash val="solid"/>
                <a:miter/>
              </a:ln>
            </p:spPr>
            <p:txBody>
              <a:bodyPr rtlCol="0" anchor="ctr"/>
              <a:lstStyle/>
              <a:p>
                <a:endParaRPr lang="nl-NL"/>
              </a:p>
            </p:txBody>
          </p:sp>
          <p:sp>
            <p:nvSpPr>
              <p:cNvPr id="21" name="Graphic 13">
                <a:extLst>
                  <a:ext uri="{FF2B5EF4-FFF2-40B4-BE49-F238E27FC236}">
                    <a16:creationId xmlns:a16="http://schemas.microsoft.com/office/drawing/2014/main" id="{850349D7-41E1-473A-A485-3B049F4C0CA9}"/>
                  </a:ext>
                </a:extLst>
              </p:cNvPr>
              <p:cNvSpPr/>
              <p:nvPr/>
            </p:nvSpPr>
            <p:spPr>
              <a:xfrm>
                <a:off x="2003393" y="1130406"/>
                <a:ext cx="235998" cy="311136"/>
              </a:xfrm>
              <a:custGeom>
                <a:avLst/>
                <a:gdLst>
                  <a:gd name="connsiteX0" fmla="*/ 143043 w 235998"/>
                  <a:gd name="connsiteY0" fmla="*/ 176908 h 311136"/>
                  <a:gd name="connsiteX1" fmla="*/ 69754 w 235998"/>
                  <a:gd name="connsiteY1" fmla="*/ 176908 h 311136"/>
                  <a:gd name="connsiteX2" fmla="*/ 60398 w 235998"/>
                  <a:gd name="connsiteY2" fmla="*/ 186264 h 311136"/>
                  <a:gd name="connsiteX3" fmla="*/ 62403 w 235998"/>
                  <a:gd name="connsiteY3" fmla="*/ 212773 h 311136"/>
                  <a:gd name="connsiteX4" fmla="*/ 112970 w 235998"/>
                  <a:gd name="connsiteY4" fmla="*/ 254430 h 311136"/>
                  <a:gd name="connsiteX5" fmla="*/ 182027 w 235998"/>
                  <a:gd name="connsiteY5" fmla="*/ 228812 h 311136"/>
                  <a:gd name="connsiteX6" fmla="*/ 209872 w 235998"/>
                  <a:gd name="connsiteY6" fmla="*/ 228144 h 311136"/>
                  <a:gd name="connsiteX7" fmla="*/ 220564 w 235998"/>
                  <a:gd name="connsiteY7" fmla="*/ 237722 h 311136"/>
                  <a:gd name="connsiteX8" fmla="*/ 223683 w 235998"/>
                  <a:gd name="connsiteY8" fmla="*/ 264899 h 311136"/>
                  <a:gd name="connsiteX9" fmla="*/ 200739 w 235998"/>
                  <a:gd name="connsiteY9" fmla="*/ 286507 h 311136"/>
                  <a:gd name="connsiteX10" fmla="*/ 44582 w 235998"/>
                  <a:gd name="connsiteY10" fmla="*/ 286953 h 311136"/>
                  <a:gd name="connsiteX11" fmla="*/ 921 w 235998"/>
                  <a:gd name="connsiteY11" fmla="*/ 201412 h 311136"/>
                  <a:gd name="connsiteX12" fmla="*/ 921 w 235998"/>
                  <a:gd name="connsiteY12" fmla="*/ 109634 h 311136"/>
                  <a:gd name="connsiteX13" fmla="*/ 103837 w 235998"/>
                  <a:gd name="connsiteY13" fmla="*/ 480 h 311136"/>
                  <a:gd name="connsiteX14" fmla="*/ 200293 w 235998"/>
                  <a:gd name="connsiteY14" fmla="*/ 31222 h 311136"/>
                  <a:gd name="connsiteX15" fmla="*/ 234599 w 235998"/>
                  <a:gd name="connsiteY15" fmla="*/ 100278 h 311136"/>
                  <a:gd name="connsiteX16" fmla="*/ 235712 w 235998"/>
                  <a:gd name="connsiteY16" fmla="*/ 158642 h 311136"/>
                  <a:gd name="connsiteX17" fmla="*/ 216555 w 235998"/>
                  <a:gd name="connsiteY17" fmla="*/ 176686 h 311136"/>
                  <a:gd name="connsiteX18" fmla="*/ 143043 w 235998"/>
                  <a:gd name="connsiteY18" fmla="*/ 176908 h 311136"/>
                  <a:gd name="connsiteX19" fmla="*/ 118094 w 235998"/>
                  <a:gd name="connsiteY19" fmla="*/ 127232 h 311136"/>
                  <a:gd name="connsiteX20" fmla="*/ 137474 w 235998"/>
                  <a:gd name="connsiteY20" fmla="*/ 127232 h 311136"/>
                  <a:gd name="connsiteX21" fmla="*/ 167547 w 235998"/>
                  <a:gd name="connsiteY21" fmla="*/ 127232 h 311136"/>
                  <a:gd name="connsiteX22" fmla="*/ 175789 w 235998"/>
                  <a:gd name="connsiteY22" fmla="*/ 118767 h 311136"/>
                  <a:gd name="connsiteX23" fmla="*/ 175567 w 235998"/>
                  <a:gd name="connsiteY23" fmla="*/ 109411 h 311136"/>
                  <a:gd name="connsiteX24" fmla="*/ 134133 w 235998"/>
                  <a:gd name="connsiteY24" fmla="*/ 58176 h 311136"/>
                  <a:gd name="connsiteX25" fmla="*/ 106956 w 235998"/>
                  <a:gd name="connsiteY25" fmla="*/ 57062 h 311136"/>
                  <a:gd name="connsiteX26" fmla="*/ 70868 w 235998"/>
                  <a:gd name="connsiteY26" fmla="*/ 77556 h 311136"/>
                  <a:gd name="connsiteX27" fmla="*/ 60398 w 235998"/>
                  <a:gd name="connsiteY27" fmla="*/ 117208 h 311136"/>
                  <a:gd name="connsiteX28" fmla="*/ 70423 w 235998"/>
                  <a:gd name="connsiteY28" fmla="*/ 127232 h 311136"/>
                  <a:gd name="connsiteX29" fmla="*/ 118094 w 235998"/>
                  <a:gd name="connsiteY29" fmla="*/ 127232 h 31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35998" h="311136">
                    <a:moveTo>
                      <a:pt x="143043" y="176908"/>
                    </a:moveTo>
                    <a:cubicBezTo>
                      <a:pt x="118539" y="176908"/>
                      <a:pt x="94035" y="176908"/>
                      <a:pt x="69754" y="176908"/>
                    </a:cubicBezTo>
                    <a:cubicBezTo>
                      <a:pt x="61735" y="176908"/>
                      <a:pt x="60621" y="178245"/>
                      <a:pt x="60398" y="186264"/>
                    </a:cubicBezTo>
                    <a:cubicBezTo>
                      <a:pt x="60398" y="195175"/>
                      <a:pt x="60176" y="204085"/>
                      <a:pt x="62403" y="212773"/>
                    </a:cubicBezTo>
                    <a:cubicBezTo>
                      <a:pt x="68641" y="237500"/>
                      <a:pt x="87130" y="252425"/>
                      <a:pt x="112970" y="254430"/>
                    </a:cubicBezTo>
                    <a:cubicBezTo>
                      <a:pt x="140147" y="256657"/>
                      <a:pt x="163315" y="248861"/>
                      <a:pt x="182027" y="228812"/>
                    </a:cubicBezTo>
                    <a:cubicBezTo>
                      <a:pt x="190937" y="219456"/>
                      <a:pt x="200293" y="219456"/>
                      <a:pt x="209872" y="228144"/>
                    </a:cubicBezTo>
                    <a:cubicBezTo>
                      <a:pt x="213436" y="231485"/>
                      <a:pt x="217000" y="234604"/>
                      <a:pt x="220564" y="237722"/>
                    </a:cubicBezTo>
                    <a:cubicBezTo>
                      <a:pt x="229475" y="245742"/>
                      <a:pt x="230589" y="254875"/>
                      <a:pt x="223683" y="264899"/>
                    </a:cubicBezTo>
                    <a:cubicBezTo>
                      <a:pt x="217446" y="273587"/>
                      <a:pt x="209204" y="280270"/>
                      <a:pt x="200739" y="286507"/>
                    </a:cubicBezTo>
                    <a:cubicBezTo>
                      <a:pt x="154850" y="321036"/>
                      <a:pt x="83566" y="317471"/>
                      <a:pt x="44582" y="286953"/>
                    </a:cubicBezTo>
                    <a:cubicBezTo>
                      <a:pt x="16960" y="265122"/>
                      <a:pt x="2257" y="236386"/>
                      <a:pt x="921" y="201412"/>
                    </a:cubicBezTo>
                    <a:cubicBezTo>
                      <a:pt x="-193" y="170894"/>
                      <a:pt x="-416" y="140375"/>
                      <a:pt x="921" y="109634"/>
                    </a:cubicBezTo>
                    <a:cubicBezTo>
                      <a:pt x="3594" y="42805"/>
                      <a:pt x="50151" y="4490"/>
                      <a:pt x="103837" y="480"/>
                    </a:cubicBezTo>
                    <a:cubicBezTo>
                      <a:pt x="140147" y="-2193"/>
                      <a:pt x="172893" y="6050"/>
                      <a:pt x="200293" y="31222"/>
                    </a:cubicBezTo>
                    <a:cubicBezTo>
                      <a:pt x="220342" y="49934"/>
                      <a:pt x="231034" y="73324"/>
                      <a:pt x="234599" y="100278"/>
                    </a:cubicBezTo>
                    <a:cubicBezTo>
                      <a:pt x="237049" y="119658"/>
                      <a:pt x="235490" y="139039"/>
                      <a:pt x="235712" y="158642"/>
                    </a:cubicBezTo>
                    <a:cubicBezTo>
                      <a:pt x="235712" y="169557"/>
                      <a:pt x="227916" y="176463"/>
                      <a:pt x="216555" y="176686"/>
                    </a:cubicBezTo>
                    <a:cubicBezTo>
                      <a:pt x="192051" y="176908"/>
                      <a:pt x="167547" y="176908"/>
                      <a:pt x="143043" y="176908"/>
                    </a:cubicBezTo>
                    <a:moveTo>
                      <a:pt x="118094" y="127232"/>
                    </a:moveTo>
                    <a:lnTo>
                      <a:pt x="137474" y="127232"/>
                    </a:lnTo>
                    <a:cubicBezTo>
                      <a:pt x="147498" y="127232"/>
                      <a:pt x="157523" y="127455"/>
                      <a:pt x="167547" y="127232"/>
                    </a:cubicBezTo>
                    <a:cubicBezTo>
                      <a:pt x="174007" y="127010"/>
                      <a:pt x="175567" y="125450"/>
                      <a:pt x="175789" y="118767"/>
                    </a:cubicBezTo>
                    <a:cubicBezTo>
                      <a:pt x="175789" y="115649"/>
                      <a:pt x="175789" y="112530"/>
                      <a:pt x="175567" y="109411"/>
                    </a:cubicBezTo>
                    <a:cubicBezTo>
                      <a:pt x="173339" y="87358"/>
                      <a:pt x="161978" y="63299"/>
                      <a:pt x="134133" y="58176"/>
                    </a:cubicBezTo>
                    <a:cubicBezTo>
                      <a:pt x="125222" y="56394"/>
                      <a:pt x="116089" y="55948"/>
                      <a:pt x="106956" y="57062"/>
                    </a:cubicBezTo>
                    <a:cubicBezTo>
                      <a:pt x="92031" y="58621"/>
                      <a:pt x="79110" y="63968"/>
                      <a:pt x="70868" y="77556"/>
                    </a:cubicBezTo>
                    <a:cubicBezTo>
                      <a:pt x="63517" y="89808"/>
                      <a:pt x="60398" y="103174"/>
                      <a:pt x="60398" y="117208"/>
                    </a:cubicBezTo>
                    <a:cubicBezTo>
                      <a:pt x="60398" y="125896"/>
                      <a:pt x="61512" y="127232"/>
                      <a:pt x="70423" y="127232"/>
                    </a:cubicBezTo>
                    <a:cubicBezTo>
                      <a:pt x="86239" y="127455"/>
                      <a:pt x="102278" y="127232"/>
                      <a:pt x="118094" y="127232"/>
                    </a:cubicBezTo>
                  </a:path>
                </a:pathLst>
              </a:custGeom>
              <a:grpFill/>
              <a:ln w="2224" cap="flat">
                <a:noFill/>
                <a:prstDash val="solid"/>
                <a:miter/>
              </a:ln>
            </p:spPr>
            <p:txBody>
              <a:bodyPr rtlCol="0" anchor="ctr"/>
              <a:lstStyle/>
              <a:p>
                <a:endParaRPr lang="nl-NL"/>
              </a:p>
            </p:txBody>
          </p:sp>
          <p:sp>
            <p:nvSpPr>
              <p:cNvPr id="22" name="Graphic 13">
                <a:extLst>
                  <a:ext uri="{FF2B5EF4-FFF2-40B4-BE49-F238E27FC236}">
                    <a16:creationId xmlns:a16="http://schemas.microsoft.com/office/drawing/2014/main" id="{1A8E3E36-CA5B-4378-9C4B-421771E81DA7}"/>
                  </a:ext>
                </a:extLst>
              </p:cNvPr>
              <p:cNvSpPr/>
              <p:nvPr/>
            </p:nvSpPr>
            <p:spPr>
              <a:xfrm>
                <a:off x="1173187" y="1140242"/>
                <a:ext cx="244231" cy="304070"/>
              </a:xfrm>
              <a:custGeom>
                <a:avLst/>
                <a:gdLst>
                  <a:gd name="connsiteX0" fmla="*/ 244148 w 244231"/>
                  <a:gd name="connsiteY0" fmla="*/ 180215 h 304070"/>
                  <a:gd name="connsiteX1" fmla="*/ 244148 w 244231"/>
                  <a:gd name="connsiteY1" fmla="*/ 77299 h 304070"/>
                  <a:gd name="connsiteX2" fmla="*/ 244148 w 244231"/>
                  <a:gd name="connsiteY2" fmla="*/ 55691 h 304070"/>
                  <a:gd name="connsiteX3" fmla="*/ 244148 w 244231"/>
                  <a:gd name="connsiteY3" fmla="*/ 21385 h 304070"/>
                  <a:gd name="connsiteX4" fmla="*/ 244148 w 244231"/>
                  <a:gd name="connsiteY4" fmla="*/ 20494 h 304070"/>
                  <a:gd name="connsiteX5" fmla="*/ 244148 w 244231"/>
                  <a:gd name="connsiteY5" fmla="*/ 20049 h 304070"/>
                  <a:gd name="connsiteX6" fmla="*/ 242143 w 244231"/>
                  <a:gd name="connsiteY6" fmla="*/ 9802 h 304070"/>
                  <a:gd name="connsiteX7" fmla="*/ 242143 w 244231"/>
                  <a:gd name="connsiteY7" fmla="*/ 9802 h 304070"/>
                  <a:gd name="connsiteX8" fmla="*/ 241697 w 244231"/>
                  <a:gd name="connsiteY8" fmla="*/ 8910 h 304070"/>
                  <a:gd name="connsiteX9" fmla="*/ 236128 w 244231"/>
                  <a:gd name="connsiteY9" fmla="*/ 2896 h 304070"/>
                  <a:gd name="connsiteX10" fmla="*/ 236128 w 244231"/>
                  <a:gd name="connsiteY10" fmla="*/ 2896 h 304070"/>
                  <a:gd name="connsiteX11" fmla="*/ 235683 w 244231"/>
                  <a:gd name="connsiteY11" fmla="*/ 2673 h 304070"/>
                  <a:gd name="connsiteX12" fmla="*/ 224099 w 244231"/>
                  <a:gd name="connsiteY12" fmla="*/ 0 h 304070"/>
                  <a:gd name="connsiteX13" fmla="*/ 222985 w 244231"/>
                  <a:gd name="connsiteY13" fmla="*/ 0 h 304070"/>
                  <a:gd name="connsiteX14" fmla="*/ 222762 w 244231"/>
                  <a:gd name="connsiteY14" fmla="*/ 0 h 304070"/>
                  <a:gd name="connsiteX15" fmla="*/ 213406 w 244231"/>
                  <a:gd name="connsiteY15" fmla="*/ 0 h 304070"/>
                  <a:gd name="connsiteX16" fmla="*/ 203828 w 244231"/>
                  <a:gd name="connsiteY16" fmla="*/ 0 h 304070"/>
                  <a:gd name="connsiteX17" fmla="*/ 203605 w 244231"/>
                  <a:gd name="connsiteY17" fmla="*/ 0 h 304070"/>
                  <a:gd name="connsiteX18" fmla="*/ 202937 w 244231"/>
                  <a:gd name="connsiteY18" fmla="*/ 0 h 304070"/>
                  <a:gd name="connsiteX19" fmla="*/ 192467 w 244231"/>
                  <a:gd name="connsiteY19" fmla="*/ 1782 h 304070"/>
                  <a:gd name="connsiteX20" fmla="*/ 192021 w 244231"/>
                  <a:gd name="connsiteY20" fmla="*/ 2005 h 304070"/>
                  <a:gd name="connsiteX21" fmla="*/ 191130 w 244231"/>
                  <a:gd name="connsiteY21" fmla="*/ 2450 h 304070"/>
                  <a:gd name="connsiteX22" fmla="*/ 190016 w 244231"/>
                  <a:gd name="connsiteY22" fmla="*/ 2896 h 304070"/>
                  <a:gd name="connsiteX23" fmla="*/ 190016 w 244231"/>
                  <a:gd name="connsiteY23" fmla="*/ 2896 h 304070"/>
                  <a:gd name="connsiteX24" fmla="*/ 187120 w 244231"/>
                  <a:gd name="connsiteY24" fmla="*/ 5124 h 304070"/>
                  <a:gd name="connsiteX25" fmla="*/ 181774 w 244231"/>
                  <a:gd name="connsiteY25" fmla="*/ 20940 h 304070"/>
                  <a:gd name="connsiteX26" fmla="*/ 181774 w 244231"/>
                  <a:gd name="connsiteY26" fmla="*/ 79749 h 304070"/>
                  <a:gd name="connsiteX27" fmla="*/ 181774 w 244231"/>
                  <a:gd name="connsiteY27" fmla="*/ 187120 h 304070"/>
                  <a:gd name="connsiteX28" fmla="*/ 181106 w 244231"/>
                  <a:gd name="connsiteY28" fmla="*/ 196254 h 304070"/>
                  <a:gd name="connsiteX29" fmla="*/ 180883 w 244231"/>
                  <a:gd name="connsiteY29" fmla="*/ 197145 h 304070"/>
                  <a:gd name="connsiteX30" fmla="*/ 175314 w 244231"/>
                  <a:gd name="connsiteY30" fmla="*/ 215634 h 304070"/>
                  <a:gd name="connsiteX31" fmla="*/ 162171 w 244231"/>
                  <a:gd name="connsiteY31" fmla="*/ 233901 h 304070"/>
                  <a:gd name="connsiteX32" fmla="*/ 149474 w 244231"/>
                  <a:gd name="connsiteY32" fmla="*/ 242588 h 304070"/>
                  <a:gd name="connsiteX33" fmla="*/ 148805 w 244231"/>
                  <a:gd name="connsiteY33" fmla="*/ 242811 h 304070"/>
                  <a:gd name="connsiteX34" fmla="*/ 124079 w 244231"/>
                  <a:gd name="connsiteY34" fmla="*/ 247712 h 304070"/>
                  <a:gd name="connsiteX35" fmla="*/ 122074 w 244231"/>
                  <a:gd name="connsiteY35" fmla="*/ 247712 h 304070"/>
                  <a:gd name="connsiteX36" fmla="*/ 120069 w 244231"/>
                  <a:gd name="connsiteY36" fmla="*/ 247712 h 304070"/>
                  <a:gd name="connsiteX37" fmla="*/ 95342 w 244231"/>
                  <a:gd name="connsiteY37" fmla="*/ 242811 h 304070"/>
                  <a:gd name="connsiteX38" fmla="*/ 94674 w 244231"/>
                  <a:gd name="connsiteY38" fmla="*/ 242588 h 304070"/>
                  <a:gd name="connsiteX39" fmla="*/ 81977 w 244231"/>
                  <a:gd name="connsiteY39" fmla="*/ 233901 h 304070"/>
                  <a:gd name="connsiteX40" fmla="*/ 68834 w 244231"/>
                  <a:gd name="connsiteY40" fmla="*/ 215634 h 304070"/>
                  <a:gd name="connsiteX41" fmla="*/ 63265 w 244231"/>
                  <a:gd name="connsiteY41" fmla="*/ 197145 h 304070"/>
                  <a:gd name="connsiteX42" fmla="*/ 63042 w 244231"/>
                  <a:gd name="connsiteY42" fmla="*/ 196254 h 304070"/>
                  <a:gd name="connsiteX43" fmla="*/ 62373 w 244231"/>
                  <a:gd name="connsiteY43" fmla="*/ 187120 h 304070"/>
                  <a:gd name="connsiteX44" fmla="*/ 62373 w 244231"/>
                  <a:gd name="connsiteY44" fmla="*/ 79749 h 304070"/>
                  <a:gd name="connsiteX45" fmla="*/ 62373 w 244231"/>
                  <a:gd name="connsiteY45" fmla="*/ 20940 h 304070"/>
                  <a:gd name="connsiteX46" fmla="*/ 57027 w 244231"/>
                  <a:gd name="connsiteY46" fmla="*/ 5124 h 304070"/>
                  <a:gd name="connsiteX47" fmla="*/ 54131 w 244231"/>
                  <a:gd name="connsiteY47" fmla="*/ 2896 h 304070"/>
                  <a:gd name="connsiteX48" fmla="*/ 54131 w 244231"/>
                  <a:gd name="connsiteY48" fmla="*/ 2896 h 304070"/>
                  <a:gd name="connsiteX49" fmla="*/ 53018 w 244231"/>
                  <a:gd name="connsiteY49" fmla="*/ 2450 h 304070"/>
                  <a:gd name="connsiteX50" fmla="*/ 52126 w 244231"/>
                  <a:gd name="connsiteY50" fmla="*/ 2005 h 304070"/>
                  <a:gd name="connsiteX51" fmla="*/ 51681 w 244231"/>
                  <a:gd name="connsiteY51" fmla="*/ 1782 h 304070"/>
                  <a:gd name="connsiteX52" fmla="*/ 41211 w 244231"/>
                  <a:gd name="connsiteY52" fmla="*/ 0 h 304070"/>
                  <a:gd name="connsiteX53" fmla="*/ 40543 w 244231"/>
                  <a:gd name="connsiteY53" fmla="*/ 0 h 304070"/>
                  <a:gd name="connsiteX54" fmla="*/ 40320 w 244231"/>
                  <a:gd name="connsiteY54" fmla="*/ 0 h 304070"/>
                  <a:gd name="connsiteX55" fmla="*/ 30741 w 244231"/>
                  <a:gd name="connsiteY55" fmla="*/ 0 h 304070"/>
                  <a:gd name="connsiteX56" fmla="*/ 21385 w 244231"/>
                  <a:gd name="connsiteY56" fmla="*/ 0 h 304070"/>
                  <a:gd name="connsiteX57" fmla="*/ 21162 w 244231"/>
                  <a:gd name="connsiteY57" fmla="*/ 0 h 304070"/>
                  <a:gd name="connsiteX58" fmla="*/ 20049 w 244231"/>
                  <a:gd name="connsiteY58" fmla="*/ 0 h 304070"/>
                  <a:gd name="connsiteX59" fmla="*/ 8465 w 244231"/>
                  <a:gd name="connsiteY59" fmla="*/ 2673 h 304070"/>
                  <a:gd name="connsiteX60" fmla="*/ 8019 w 244231"/>
                  <a:gd name="connsiteY60" fmla="*/ 2896 h 304070"/>
                  <a:gd name="connsiteX61" fmla="*/ 8019 w 244231"/>
                  <a:gd name="connsiteY61" fmla="*/ 2896 h 304070"/>
                  <a:gd name="connsiteX62" fmla="*/ 2450 w 244231"/>
                  <a:gd name="connsiteY62" fmla="*/ 8910 h 304070"/>
                  <a:gd name="connsiteX63" fmla="*/ 2005 w 244231"/>
                  <a:gd name="connsiteY63" fmla="*/ 9802 h 304070"/>
                  <a:gd name="connsiteX64" fmla="*/ 2005 w 244231"/>
                  <a:gd name="connsiteY64" fmla="*/ 9802 h 304070"/>
                  <a:gd name="connsiteX65" fmla="*/ 0 w 244231"/>
                  <a:gd name="connsiteY65" fmla="*/ 20049 h 304070"/>
                  <a:gd name="connsiteX66" fmla="*/ 0 w 244231"/>
                  <a:gd name="connsiteY66" fmla="*/ 20494 h 304070"/>
                  <a:gd name="connsiteX67" fmla="*/ 0 w 244231"/>
                  <a:gd name="connsiteY67" fmla="*/ 21385 h 304070"/>
                  <a:gd name="connsiteX68" fmla="*/ 0 w 244231"/>
                  <a:gd name="connsiteY68" fmla="*/ 55691 h 304070"/>
                  <a:gd name="connsiteX69" fmla="*/ 0 w 244231"/>
                  <a:gd name="connsiteY69" fmla="*/ 77299 h 304070"/>
                  <a:gd name="connsiteX70" fmla="*/ 0 w 244231"/>
                  <a:gd name="connsiteY70" fmla="*/ 180215 h 304070"/>
                  <a:gd name="connsiteX71" fmla="*/ 668 w 244231"/>
                  <a:gd name="connsiteY71" fmla="*/ 198481 h 304070"/>
                  <a:gd name="connsiteX72" fmla="*/ 2228 w 244231"/>
                  <a:gd name="connsiteY72" fmla="*/ 208728 h 304070"/>
                  <a:gd name="connsiteX73" fmla="*/ 100911 w 244231"/>
                  <a:gd name="connsiteY73" fmla="*/ 302734 h 304070"/>
                  <a:gd name="connsiteX74" fmla="*/ 102025 w 244231"/>
                  <a:gd name="connsiteY74" fmla="*/ 302957 h 304070"/>
                  <a:gd name="connsiteX75" fmla="*/ 104030 w 244231"/>
                  <a:gd name="connsiteY75" fmla="*/ 303180 h 304070"/>
                  <a:gd name="connsiteX76" fmla="*/ 104698 w 244231"/>
                  <a:gd name="connsiteY76" fmla="*/ 303180 h 304070"/>
                  <a:gd name="connsiteX77" fmla="*/ 117619 w 244231"/>
                  <a:gd name="connsiteY77" fmla="*/ 304071 h 304070"/>
                  <a:gd name="connsiteX78" fmla="*/ 120292 w 244231"/>
                  <a:gd name="connsiteY78" fmla="*/ 304071 h 304070"/>
                  <a:gd name="connsiteX79" fmla="*/ 120960 w 244231"/>
                  <a:gd name="connsiteY79" fmla="*/ 304071 h 304070"/>
                  <a:gd name="connsiteX80" fmla="*/ 122074 w 244231"/>
                  <a:gd name="connsiteY80" fmla="*/ 304071 h 304070"/>
                  <a:gd name="connsiteX81" fmla="*/ 123188 w 244231"/>
                  <a:gd name="connsiteY81" fmla="*/ 304071 h 304070"/>
                  <a:gd name="connsiteX82" fmla="*/ 123856 w 244231"/>
                  <a:gd name="connsiteY82" fmla="*/ 304071 h 304070"/>
                  <a:gd name="connsiteX83" fmla="*/ 126529 w 244231"/>
                  <a:gd name="connsiteY83" fmla="*/ 304071 h 304070"/>
                  <a:gd name="connsiteX84" fmla="*/ 139449 w 244231"/>
                  <a:gd name="connsiteY84" fmla="*/ 303180 h 304070"/>
                  <a:gd name="connsiteX85" fmla="*/ 140118 w 244231"/>
                  <a:gd name="connsiteY85" fmla="*/ 303180 h 304070"/>
                  <a:gd name="connsiteX86" fmla="*/ 142122 w 244231"/>
                  <a:gd name="connsiteY86" fmla="*/ 302957 h 304070"/>
                  <a:gd name="connsiteX87" fmla="*/ 143236 w 244231"/>
                  <a:gd name="connsiteY87" fmla="*/ 302734 h 304070"/>
                  <a:gd name="connsiteX88" fmla="*/ 241920 w 244231"/>
                  <a:gd name="connsiteY88" fmla="*/ 208728 h 304070"/>
                  <a:gd name="connsiteX89" fmla="*/ 243479 w 244231"/>
                  <a:gd name="connsiteY89" fmla="*/ 198481 h 304070"/>
                  <a:gd name="connsiteX90" fmla="*/ 244148 w 244231"/>
                  <a:gd name="connsiteY90" fmla="*/ 180215 h 30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44231" h="304070">
                    <a:moveTo>
                      <a:pt x="244148" y="180215"/>
                    </a:moveTo>
                    <a:cubicBezTo>
                      <a:pt x="244148" y="145909"/>
                      <a:pt x="244148" y="111604"/>
                      <a:pt x="244148" y="77299"/>
                    </a:cubicBezTo>
                    <a:cubicBezTo>
                      <a:pt x="244148" y="70170"/>
                      <a:pt x="244148" y="62819"/>
                      <a:pt x="244148" y="55691"/>
                    </a:cubicBezTo>
                    <a:cubicBezTo>
                      <a:pt x="244148" y="44330"/>
                      <a:pt x="244148" y="32746"/>
                      <a:pt x="244148" y="21385"/>
                    </a:cubicBezTo>
                    <a:cubicBezTo>
                      <a:pt x="244148" y="21162"/>
                      <a:pt x="244148" y="20717"/>
                      <a:pt x="244148" y="20494"/>
                    </a:cubicBezTo>
                    <a:cubicBezTo>
                      <a:pt x="244148" y="20271"/>
                      <a:pt x="244148" y="20049"/>
                      <a:pt x="244148" y="20049"/>
                    </a:cubicBezTo>
                    <a:cubicBezTo>
                      <a:pt x="244148" y="16039"/>
                      <a:pt x="243479" y="12475"/>
                      <a:pt x="242143" y="9802"/>
                    </a:cubicBezTo>
                    <a:cubicBezTo>
                      <a:pt x="242143" y="9802"/>
                      <a:pt x="242143" y="9802"/>
                      <a:pt x="242143" y="9802"/>
                    </a:cubicBezTo>
                    <a:cubicBezTo>
                      <a:pt x="241920" y="9579"/>
                      <a:pt x="241920" y="9133"/>
                      <a:pt x="241697" y="8910"/>
                    </a:cubicBezTo>
                    <a:cubicBezTo>
                      <a:pt x="240361" y="6237"/>
                      <a:pt x="238579" y="4233"/>
                      <a:pt x="236128" y="2896"/>
                    </a:cubicBezTo>
                    <a:cubicBezTo>
                      <a:pt x="236128" y="2896"/>
                      <a:pt x="236128" y="2896"/>
                      <a:pt x="236128" y="2896"/>
                    </a:cubicBezTo>
                    <a:cubicBezTo>
                      <a:pt x="235905" y="2896"/>
                      <a:pt x="235905" y="2673"/>
                      <a:pt x="235683" y="2673"/>
                    </a:cubicBezTo>
                    <a:cubicBezTo>
                      <a:pt x="232564" y="891"/>
                      <a:pt x="228777" y="0"/>
                      <a:pt x="224099" y="0"/>
                    </a:cubicBezTo>
                    <a:lnTo>
                      <a:pt x="222985" y="0"/>
                    </a:lnTo>
                    <a:cubicBezTo>
                      <a:pt x="222985" y="0"/>
                      <a:pt x="222762" y="0"/>
                      <a:pt x="222762" y="0"/>
                    </a:cubicBezTo>
                    <a:lnTo>
                      <a:pt x="213406" y="0"/>
                    </a:lnTo>
                    <a:lnTo>
                      <a:pt x="203828" y="0"/>
                    </a:lnTo>
                    <a:cubicBezTo>
                      <a:pt x="203828" y="0"/>
                      <a:pt x="203605" y="0"/>
                      <a:pt x="203605" y="0"/>
                    </a:cubicBezTo>
                    <a:lnTo>
                      <a:pt x="202937" y="0"/>
                    </a:lnTo>
                    <a:cubicBezTo>
                      <a:pt x="198927" y="0"/>
                      <a:pt x="195363" y="668"/>
                      <a:pt x="192467" y="1782"/>
                    </a:cubicBezTo>
                    <a:cubicBezTo>
                      <a:pt x="192244" y="1782"/>
                      <a:pt x="192244" y="1782"/>
                      <a:pt x="192021" y="2005"/>
                    </a:cubicBezTo>
                    <a:cubicBezTo>
                      <a:pt x="191798" y="2228"/>
                      <a:pt x="191576" y="2228"/>
                      <a:pt x="191130" y="2450"/>
                    </a:cubicBezTo>
                    <a:cubicBezTo>
                      <a:pt x="190685" y="2673"/>
                      <a:pt x="190462" y="2896"/>
                      <a:pt x="190016" y="2896"/>
                    </a:cubicBezTo>
                    <a:cubicBezTo>
                      <a:pt x="190016" y="2896"/>
                      <a:pt x="190016" y="2896"/>
                      <a:pt x="190016" y="2896"/>
                    </a:cubicBezTo>
                    <a:cubicBezTo>
                      <a:pt x="188903" y="3564"/>
                      <a:pt x="188012" y="4233"/>
                      <a:pt x="187120" y="5124"/>
                    </a:cubicBezTo>
                    <a:cubicBezTo>
                      <a:pt x="183556" y="8688"/>
                      <a:pt x="181774" y="13811"/>
                      <a:pt x="181774" y="20940"/>
                    </a:cubicBezTo>
                    <a:cubicBezTo>
                      <a:pt x="181774" y="40543"/>
                      <a:pt x="181774" y="60146"/>
                      <a:pt x="181774" y="79749"/>
                    </a:cubicBezTo>
                    <a:cubicBezTo>
                      <a:pt x="181774" y="115614"/>
                      <a:pt x="181997" y="151256"/>
                      <a:pt x="181774" y="187120"/>
                    </a:cubicBezTo>
                    <a:cubicBezTo>
                      <a:pt x="181774" y="190239"/>
                      <a:pt x="181551" y="193358"/>
                      <a:pt x="181106" y="196254"/>
                    </a:cubicBezTo>
                    <a:cubicBezTo>
                      <a:pt x="181106" y="196477"/>
                      <a:pt x="181106" y="196922"/>
                      <a:pt x="180883" y="197145"/>
                    </a:cubicBezTo>
                    <a:cubicBezTo>
                      <a:pt x="179547" y="203605"/>
                      <a:pt x="177987" y="209842"/>
                      <a:pt x="175314" y="215634"/>
                    </a:cubicBezTo>
                    <a:cubicBezTo>
                      <a:pt x="172195" y="222317"/>
                      <a:pt x="167740" y="228332"/>
                      <a:pt x="162171" y="233901"/>
                    </a:cubicBezTo>
                    <a:cubicBezTo>
                      <a:pt x="158384" y="237688"/>
                      <a:pt x="153929" y="240361"/>
                      <a:pt x="149474" y="242588"/>
                    </a:cubicBezTo>
                    <a:cubicBezTo>
                      <a:pt x="149251" y="242588"/>
                      <a:pt x="149028" y="242811"/>
                      <a:pt x="148805" y="242811"/>
                    </a:cubicBezTo>
                    <a:cubicBezTo>
                      <a:pt x="141231" y="246153"/>
                      <a:pt x="132766" y="247489"/>
                      <a:pt x="124079" y="247712"/>
                    </a:cubicBezTo>
                    <a:cubicBezTo>
                      <a:pt x="123410" y="247712"/>
                      <a:pt x="122742" y="247712"/>
                      <a:pt x="122074" y="247712"/>
                    </a:cubicBezTo>
                    <a:cubicBezTo>
                      <a:pt x="121406" y="247712"/>
                      <a:pt x="120737" y="247712"/>
                      <a:pt x="120069" y="247712"/>
                    </a:cubicBezTo>
                    <a:cubicBezTo>
                      <a:pt x="111381" y="247489"/>
                      <a:pt x="102916" y="246153"/>
                      <a:pt x="95342" y="242811"/>
                    </a:cubicBezTo>
                    <a:cubicBezTo>
                      <a:pt x="95120" y="242811"/>
                      <a:pt x="94897" y="242588"/>
                      <a:pt x="94674" y="242588"/>
                    </a:cubicBezTo>
                    <a:cubicBezTo>
                      <a:pt x="89996" y="240583"/>
                      <a:pt x="85764" y="237688"/>
                      <a:pt x="81977" y="233901"/>
                    </a:cubicBezTo>
                    <a:cubicBezTo>
                      <a:pt x="76408" y="228332"/>
                      <a:pt x="71952" y="222317"/>
                      <a:pt x="68834" y="215634"/>
                    </a:cubicBezTo>
                    <a:cubicBezTo>
                      <a:pt x="66383" y="209842"/>
                      <a:pt x="64601" y="203605"/>
                      <a:pt x="63265" y="197145"/>
                    </a:cubicBezTo>
                    <a:cubicBezTo>
                      <a:pt x="63265" y="196922"/>
                      <a:pt x="63265" y="196477"/>
                      <a:pt x="63042" y="196254"/>
                    </a:cubicBezTo>
                    <a:cubicBezTo>
                      <a:pt x="62596" y="193358"/>
                      <a:pt x="62373" y="190239"/>
                      <a:pt x="62373" y="187120"/>
                    </a:cubicBezTo>
                    <a:cubicBezTo>
                      <a:pt x="62151" y="151256"/>
                      <a:pt x="62373" y="115614"/>
                      <a:pt x="62373" y="79749"/>
                    </a:cubicBezTo>
                    <a:cubicBezTo>
                      <a:pt x="62373" y="60146"/>
                      <a:pt x="62373" y="40543"/>
                      <a:pt x="62373" y="20940"/>
                    </a:cubicBezTo>
                    <a:cubicBezTo>
                      <a:pt x="62373" y="14034"/>
                      <a:pt x="60591" y="8688"/>
                      <a:pt x="57027" y="5124"/>
                    </a:cubicBezTo>
                    <a:cubicBezTo>
                      <a:pt x="56136" y="4233"/>
                      <a:pt x="55245" y="3564"/>
                      <a:pt x="54131" y="2896"/>
                    </a:cubicBezTo>
                    <a:cubicBezTo>
                      <a:pt x="54131" y="2896"/>
                      <a:pt x="54131" y="2896"/>
                      <a:pt x="54131" y="2896"/>
                    </a:cubicBezTo>
                    <a:cubicBezTo>
                      <a:pt x="53909" y="2673"/>
                      <a:pt x="53463" y="2450"/>
                      <a:pt x="53018" y="2450"/>
                    </a:cubicBezTo>
                    <a:cubicBezTo>
                      <a:pt x="52795" y="2228"/>
                      <a:pt x="52572" y="2228"/>
                      <a:pt x="52126" y="2005"/>
                    </a:cubicBezTo>
                    <a:cubicBezTo>
                      <a:pt x="52126" y="2005"/>
                      <a:pt x="51904" y="2005"/>
                      <a:pt x="51681" y="1782"/>
                    </a:cubicBezTo>
                    <a:cubicBezTo>
                      <a:pt x="48785" y="446"/>
                      <a:pt x="45221" y="0"/>
                      <a:pt x="41211" y="0"/>
                    </a:cubicBezTo>
                    <a:lnTo>
                      <a:pt x="40543" y="0"/>
                    </a:lnTo>
                    <a:cubicBezTo>
                      <a:pt x="40543" y="0"/>
                      <a:pt x="40320" y="0"/>
                      <a:pt x="40320" y="0"/>
                    </a:cubicBezTo>
                    <a:lnTo>
                      <a:pt x="30741" y="0"/>
                    </a:lnTo>
                    <a:lnTo>
                      <a:pt x="21385" y="0"/>
                    </a:lnTo>
                    <a:cubicBezTo>
                      <a:pt x="21385" y="0"/>
                      <a:pt x="21162" y="0"/>
                      <a:pt x="21162" y="0"/>
                    </a:cubicBezTo>
                    <a:lnTo>
                      <a:pt x="20049" y="0"/>
                    </a:lnTo>
                    <a:cubicBezTo>
                      <a:pt x="15371" y="0"/>
                      <a:pt x="11361" y="891"/>
                      <a:pt x="8465" y="2673"/>
                    </a:cubicBezTo>
                    <a:cubicBezTo>
                      <a:pt x="8242" y="2673"/>
                      <a:pt x="8242" y="2896"/>
                      <a:pt x="8019" y="2896"/>
                    </a:cubicBezTo>
                    <a:cubicBezTo>
                      <a:pt x="8019" y="2896"/>
                      <a:pt x="8019" y="2896"/>
                      <a:pt x="8019" y="2896"/>
                    </a:cubicBezTo>
                    <a:cubicBezTo>
                      <a:pt x="5569" y="4455"/>
                      <a:pt x="3787" y="6460"/>
                      <a:pt x="2450" y="8910"/>
                    </a:cubicBezTo>
                    <a:cubicBezTo>
                      <a:pt x="2228" y="9133"/>
                      <a:pt x="2228" y="9579"/>
                      <a:pt x="2005" y="9802"/>
                    </a:cubicBezTo>
                    <a:cubicBezTo>
                      <a:pt x="2005" y="9802"/>
                      <a:pt x="2005" y="9802"/>
                      <a:pt x="2005" y="9802"/>
                    </a:cubicBezTo>
                    <a:cubicBezTo>
                      <a:pt x="668" y="12697"/>
                      <a:pt x="0" y="16039"/>
                      <a:pt x="0" y="20049"/>
                    </a:cubicBezTo>
                    <a:cubicBezTo>
                      <a:pt x="0" y="20271"/>
                      <a:pt x="0" y="20494"/>
                      <a:pt x="0" y="20494"/>
                    </a:cubicBezTo>
                    <a:cubicBezTo>
                      <a:pt x="0" y="20717"/>
                      <a:pt x="0" y="20940"/>
                      <a:pt x="0" y="21385"/>
                    </a:cubicBezTo>
                    <a:cubicBezTo>
                      <a:pt x="0" y="32746"/>
                      <a:pt x="0" y="44330"/>
                      <a:pt x="0" y="55691"/>
                    </a:cubicBezTo>
                    <a:cubicBezTo>
                      <a:pt x="0" y="62819"/>
                      <a:pt x="0" y="70170"/>
                      <a:pt x="0" y="77299"/>
                    </a:cubicBezTo>
                    <a:cubicBezTo>
                      <a:pt x="0" y="111604"/>
                      <a:pt x="0" y="145909"/>
                      <a:pt x="0" y="180215"/>
                    </a:cubicBezTo>
                    <a:cubicBezTo>
                      <a:pt x="0" y="186229"/>
                      <a:pt x="0" y="192467"/>
                      <a:pt x="668" y="198481"/>
                    </a:cubicBezTo>
                    <a:cubicBezTo>
                      <a:pt x="1114" y="202046"/>
                      <a:pt x="1559" y="205387"/>
                      <a:pt x="2228" y="208728"/>
                    </a:cubicBezTo>
                    <a:cubicBezTo>
                      <a:pt x="11138" y="259741"/>
                      <a:pt x="50790" y="296051"/>
                      <a:pt x="100911" y="302734"/>
                    </a:cubicBezTo>
                    <a:cubicBezTo>
                      <a:pt x="101357" y="302734"/>
                      <a:pt x="101580" y="302734"/>
                      <a:pt x="102025" y="302957"/>
                    </a:cubicBezTo>
                    <a:cubicBezTo>
                      <a:pt x="102694" y="302957"/>
                      <a:pt x="103362" y="303180"/>
                      <a:pt x="104030" y="303180"/>
                    </a:cubicBezTo>
                    <a:cubicBezTo>
                      <a:pt x="104253" y="303180"/>
                      <a:pt x="104476" y="303180"/>
                      <a:pt x="104698" y="303180"/>
                    </a:cubicBezTo>
                    <a:cubicBezTo>
                      <a:pt x="108931" y="303625"/>
                      <a:pt x="113163" y="303848"/>
                      <a:pt x="117619" y="304071"/>
                    </a:cubicBezTo>
                    <a:cubicBezTo>
                      <a:pt x="118510" y="304071"/>
                      <a:pt x="119401" y="304071"/>
                      <a:pt x="120292" y="304071"/>
                    </a:cubicBezTo>
                    <a:cubicBezTo>
                      <a:pt x="120515" y="304071"/>
                      <a:pt x="120737" y="304071"/>
                      <a:pt x="120960" y="304071"/>
                    </a:cubicBezTo>
                    <a:cubicBezTo>
                      <a:pt x="121406" y="304071"/>
                      <a:pt x="121628" y="304071"/>
                      <a:pt x="122074" y="304071"/>
                    </a:cubicBezTo>
                    <a:cubicBezTo>
                      <a:pt x="122519" y="304071"/>
                      <a:pt x="122742" y="304071"/>
                      <a:pt x="123188" y="304071"/>
                    </a:cubicBezTo>
                    <a:cubicBezTo>
                      <a:pt x="123410" y="304071"/>
                      <a:pt x="123633" y="304071"/>
                      <a:pt x="123856" y="304071"/>
                    </a:cubicBezTo>
                    <a:cubicBezTo>
                      <a:pt x="124747" y="304071"/>
                      <a:pt x="125638" y="304071"/>
                      <a:pt x="126529" y="304071"/>
                    </a:cubicBezTo>
                    <a:cubicBezTo>
                      <a:pt x="130984" y="304071"/>
                      <a:pt x="135217" y="303625"/>
                      <a:pt x="139449" y="303180"/>
                    </a:cubicBezTo>
                    <a:cubicBezTo>
                      <a:pt x="139672" y="303180"/>
                      <a:pt x="139895" y="303180"/>
                      <a:pt x="140118" y="303180"/>
                    </a:cubicBezTo>
                    <a:cubicBezTo>
                      <a:pt x="140786" y="303180"/>
                      <a:pt x="141454" y="302957"/>
                      <a:pt x="142122" y="302957"/>
                    </a:cubicBezTo>
                    <a:cubicBezTo>
                      <a:pt x="142568" y="302957"/>
                      <a:pt x="143014" y="302957"/>
                      <a:pt x="143236" y="302734"/>
                    </a:cubicBezTo>
                    <a:cubicBezTo>
                      <a:pt x="193358" y="296051"/>
                      <a:pt x="233010" y="259741"/>
                      <a:pt x="241920" y="208728"/>
                    </a:cubicBezTo>
                    <a:cubicBezTo>
                      <a:pt x="242588" y="205387"/>
                      <a:pt x="243034" y="202046"/>
                      <a:pt x="243479" y="198481"/>
                    </a:cubicBezTo>
                    <a:cubicBezTo>
                      <a:pt x="244148" y="192467"/>
                      <a:pt x="244370" y="186229"/>
                      <a:pt x="244148" y="180215"/>
                    </a:cubicBezTo>
                    <a:close/>
                  </a:path>
                </a:pathLst>
              </a:custGeom>
              <a:grpFill/>
              <a:ln w="2224" cap="flat">
                <a:noFill/>
                <a:prstDash val="solid"/>
                <a:miter/>
              </a:ln>
            </p:spPr>
            <p:txBody>
              <a:bodyPr rtlCol="0" anchor="ctr"/>
              <a:lstStyle/>
              <a:p>
                <a:endParaRPr lang="nl-NL"/>
              </a:p>
            </p:txBody>
          </p:sp>
          <p:sp>
            <p:nvSpPr>
              <p:cNvPr id="23" name="Graphic 13">
                <a:extLst>
                  <a:ext uri="{FF2B5EF4-FFF2-40B4-BE49-F238E27FC236}">
                    <a16:creationId xmlns:a16="http://schemas.microsoft.com/office/drawing/2014/main" id="{53C35282-E87F-4169-872A-0ABD4033D706}"/>
                  </a:ext>
                </a:extLst>
              </p:cNvPr>
              <p:cNvSpPr/>
              <p:nvPr/>
            </p:nvSpPr>
            <p:spPr>
              <a:xfrm>
                <a:off x="610655" y="1130302"/>
                <a:ext cx="188725" cy="311338"/>
              </a:xfrm>
              <a:custGeom>
                <a:avLst/>
                <a:gdLst>
                  <a:gd name="connsiteX0" fmla="*/ 87157 w 188725"/>
                  <a:gd name="connsiteY0" fmla="*/ 311338 h 311338"/>
                  <a:gd name="connsiteX1" fmla="*/ 26788 w 188725"/>
                  <a:gd name="connsiteY1" fmla="*/ 297750 h 311338"/>
                  <a:gd name="connsiteX2" fmla="*/ 5403 w 188725"/>
                  <a:gd name="connsiteY2" fmla="*/ 280374 h 311338"/>
                  <a:gd name="connsiteX3" fmla="*/ 5626 w 188725"/>
                  <a:gd name="connsiteY3" fmla="*/ 252752 h 311338"/>
                  <a:gd name="connsiteX4" fmla="*/ 16987 w 188725"/>
                  <a:gd name="connsiteY4" fmla="*/ 238940 h 311338"/>
                  <a:gd name="connsiteX5" fmla="*/ 40822 w 188725"/>
                  <a:gd name="connsiteY5" fmla="*/ 235822 h 311338"/>
                  <a:gd name="connsiteX6" fmla="*/ 59757 w 188725"/>
                  <a:gd name="connsiteY6" fmla="*/ 248519 h 311338"/>
                  <a:gd name="connsiteX7" fmla="*/ 112329 w 188725"/>
                  <a:gd name="connsiteY7" fmla="*/ 249410 h 311338"/>
                  <a:gd name="connsiteX8" fmla="*/ 117453 w 188725"/>
                  <a:gd name="connsiteY8" fmla="*/ 203298 h 311338"/>
                  <a:gd name="connsiteX9" fmla="*/ 82925 w 188725"/>
                  <a:gd name="connsiteY9" fmla="*/ 182359 h 311338"/>
                  <a:gd name="connsiteX10" fmla="*/ 35031 w 188725"/>
                  <a:gd name="connsiteY10" fmla="*/ 152731 h 311338"/>
                  <a:gd name="connsiteX11" fmla="*/ 8076 w 188725"/>
                  <a:gd name="connsiteY11" fmla="*/ 65408 h 311338"/>
                  <a:gd name="connsiteX12" fmla="*/ 72009 w 188725"/>
                  <a:gd name="connsiteY12" fmla="*/ 3703 h 311338"/>
                  <a:gd name="connsiteX13" fmla="*/ 168243 w 188725"/>
                  <a:gd name="connsiteY13" fmla="*/ 22861 h 311338"/>
                  <a:gd name="connsiteX14" fmla="*/ 181386 w 188725"/>
                  <a:gd name="connsiteY14" fmla="*/ 39568 h 311338"/>
                  <a:gd name="connsiteX15" fmla="*/ 177376 w 188725"/>
                  <a:gd name="connsiteY15" fmla="*/ 57166 h 311338"/>
                  <a:gd name="connsiteX16" fmla="*/ 163119 w 188725"/>
                  <a:gd name="connsiteY16" fmla="*/ 72091 h 311338"/>
                  <a:gd name="connsiteX17" fmla="*/ 138170 w 188725"/>
                  <a:gd name="connsiteY17" fmla="*/ 72537 h 311338"/>
                  <a:gd name="connsiteX18" fmla="*/ 83147 w 188725"/>
                  <a:gd name="connsiteY18" fmla="*/ 59171 h 311338"/>
                  <a:gd name="connsiteX19" fmla="*/ 63544 w 188725"/>
                  <a:gd name="connsiteY19" fmla="*/ 80556 h 311338"/>
                  <a:gd name="connsiteX20" fmla="*/ 73123 w 188725"/>
                  <a:gd name="connsiteY20" fmla="*/ 108402 h 311338"/>
                  <a:gd name="connsiteX21" fmla="*/ 109656 w 188725"/>
                  <a:gd name="connsiteY21" fmla="*/ 129118 h 311338"/>
                  <a:gd name="connsiteX22" fmla="*/ 160669 w 188725"/>
                  <a:gd name="connsiteY22" fmla="*/ 160082 h 311338"/>
                  <a:gd name="connsiteX23" fmla="*/ 141957 w 188725"/>
                  <a:gd name="connsiteY23" fmla="*/ 298641 h 311338"/>
                  <a:gd name="connsiteX24" fmla="*/ 87157 w 188725"/>
                  <a:gd name="connsiteY24" fmla="*/ 311338 h 31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8725" h="311338">
                    <a:moveTo>
                      <a:pt x="87157" y="311338"/>
                    </a:moveTo>
                    <a:cubicBezTo>
                      <a:pt x="65326" y="310893"/>
                      <a:pt x="45055" y="308220"/>
                      <a:pt x="26788" y="297750"/>
                    </a:cubicBezTo>
                    <a:cubicBezTo>
                      <a:pt x="18769" y="293072"/>
                      <a:pt x="11418" y="287503"/>
                      <a:pt x="5403" y="280374"/>
                    </a:cubicBezTo>
                    <a:cubicBezTo>
                      <a:pt x="-1948" y="271686"/>
                      <a:pt x="-1725" y="261217"/>
                      <a:pt x="5626" y="252752"/>
                    </a:cubicBezTo>
                    <a:cubicBezTo>
                      <a:pt x="9413" y="248296"/>
                      <a:pt x="13200" y="243618"/>
                      <a:pt x="16987" y="238940"/>
                    </a:cubicBezTo>
                    <a:cubicBezTo>
                      <a:pt x="24115" y="230475"/>
                      <a:pt x="31689" y="229362"/>
                      <a:pt x="40822" y="235822"/>
                    </a:cubicBezTo>
                    <a:cubicBezTo>
                      <a:pt x="47060" y="240277"/>
                      <a:pt x="52852" y="245178"/>
                      <a:pt x="59757" y="248519"/>
                    </a:cubicBezTo>
                    <a:cubicBezTo>
                      <a:pt x="77133" y="256984"/>
                      <a:pt x="94954" y="257652"/>
                      <a:pt x="112329" y="249410"/>
                    </a:cubicBezTo>
                    <a:cubicBezTo>
                      <a:pt x="132378" y="240054"/>
                      <a:pt x="134605" y="217555"/>
                      <a:pt x="117453" y="203298"/>
                    </a:cubicBezTo>
                    <a:cubicBezTo>
                      <a:pt x="106983" y="194611"/>
                      <a:pt x="94954" y="188373"/>
                      <a:pt x="82925" y="182359"/>
                    </a:cubicBezTo>
                    <a:cubicBezTo>
                      <a:pt x="65995" y="173894"/>
                      <a:pt x="49287" y="165206"/>
                      <a:pt x="35031" y="152731"/>
                    </a:cubicBezTo>
                    <a:cubicBezTo>
                      <a:pt x="8076" y="129341"/>
                      <a:pt x="-389" y="99491"/>
                      <a:pt x="8076" y="65408"/>
                    </a:cubicBezTo>
                    <a:cubicBezTo>
                      <a:pt x="16319" y="31994"/>
                      <a:pt x="39263" y="11723"/>
                      <a:pt x="72009" y="3703"/>
                    </a:cubicBezTo>
                    <a:cubicBezTo>
                      <a:pt x="106760" y="-4985"/>
                      <a:pt x="139283" y="1698"/>
                      <a:pt x="168243" y="22861"/>
                    </a:cubicBezTo>
                    <a:cubicBezTo>
                      <a:pt x="174034" y="27093"/>
                      <a:pt x="179381" y="31994"/>
                      <a:pt x="181386" y="39568"/>
                    </a:cubicBezTo>
                    <a:cubicBezTo>
                      <a:pt x="183168" y="46251"/>
                      <a:pt x="182054" y="52043"/>
                      <a:pt x="177376" y="57166"/>
                    </a:cubicBezTo>
                    <a:cubicBezTo>
                      <a:pt x="172698" y="62290"/>
                      <a:pt x="168020" y="67191"/>
                      <a:pt x="163119" y="72091"/>
                    </a:cubicBezTo>
                    <a:cubicBezTo>
                      <a:pt x="154209" y="80779"/>
                      <a:pt x="147303" y="80779"/>
                      <a:pt x="138170" y="72537"/>
                    </a:cubicBezTo>
                    <a:cubicBezTo>
                      <a:pt x="122131" y="58280"/>
                      <a:pt x="103864" y="53379"/>
                      <a:pt x="83147" y="59171"/>
                    </a:cubicBezTo>
                    <a:cubicBezTo>
                      <a:pt x="72455" y="62067"/>
                      <a:pt x="65772" y="69641"/>
                      <a:pt x="63544" y="80556"/>
                    </a:cubicBezTo>
                    <a:cubicBezTo>
                      <a:pt x="61317" y="91472"/>
                      <a:pt x="63990" y="101050"/>
                      <a:pt x="73123" y="108402"/>
                    </a:cubicBezTo>
                    <a:cubicBezTo>
                      <a:pt x="84261" y="117312"/>
                      <a:pt x="96736" y="123549"/>
                      <a:pt x="109656" y="129118"/>
                    </a:cubicBezTo>
                    <a:cubicBezTo>
                      <a:pt x="127923" y="137361"/>
                      <a:pt x="145298" y="146939"/>
                      <a:pt x="160669" y="160082"/>
                    </a:cubicBezTo>
                    <a:cubicBezTo>
                      <a:pt x="204776" y="197507"/>
                      <a:pt x="195642" y="271018"/>
                      <a:pt x="141957" y="298641"/>
                    </a:cubicBezTo>
                    <a:cubicBezTo>
                      <a:pt x="124136" y="307551"/>
                      <a:pt x="105646" y="311338"/>
                      <a:pt x="87157" y="311338"/>
                    </a:cubicBezTo>
                  </a:path>
                </a:pathLst>
              </a:custGeom>
              <a:grpFill/>
              <a:ln w="2224" cap="flat">
                <a:noFill/>
                <a:prstDash val="solid"/>
                <a:miter/>
              </a:ln>
            </p:spPr>
            <p:txBody>
              <a:bodyPr rtlCol="0" anchor="ctr"/>
              <a:lstStyle/>
              <a:p>
                <a:endParaRPr lang="nl-NL"/>
              </a:p>
            </p:txBody>
          </p:sp>
          <p:sp>
            <p:nvSpPr>
              <p:cNvPr id="24" name="Graphic 13">
                <a:extLst>
                  <a:ext uri="{FF2B5EF4-FFF2-40B4-BE49-F238E27FC236}">
                    <a16:creationId xmlns:a16="http://schemas.microsoft.com/office/drawing/2014/main" id="{9C22D09C-3692-46A8-B04A-FED016A4EBCE}"/>
                  </a:ext>
                </a:extLst>
              </p:cNvPr>
              <p:cNvSpPr/>
              <p:nvPr/>
            </p:nvSpPr>
            <p:spPr>
              <a:xfrm>
                <a:off x="1766651" y="1560036"/>
                <a:ext cx="188703" cy="310781"/>
              </a:xfrm>
              <a:custGeom>
                <a:avLst/>
                <a:gdLst>
                  <a:gd name="connsiteX0" fmla="*/ 99996 w 188703"/>
                  <a:gd name="connsiteY0" fmla="*/ 114 h 310781"/>
                  <a:gd name="connsiteX1" fmla="*/ 169052 w 188703"/>
                  <a:gd name="connsiteY1" fmla="*/ 23281 h 310781"/>
                  <a:gd name="connsiteX2" fmla="*/ 179076 w 188703"/>
                  <a:gd name="connsiteY2" fmla="*/ 33528 h 310781"/>
                  <a:gd name="connsiteX3" fmla="*/ 177294 w 188703"/>
                  <a:gd name="connsiteY3" fmla="*/ 56695 h 310781"/>
                  <a:gd name="connsiteX4" fmla="*/ 161032 w 188703"/>
                  <a:gd name="connsiteY4" fmla="*/ 73180 h 310781"/>
                  <a:gd name="connsiteX5" fmla="*/ 138979 w 188703"/>
                  <a:gd name="connsiteY5" fmla="*/ 72511 h 310781"/>
                  <a:gd name="connsiteX6" fmla="*/ 85516 w 188703"/>
                  <a:gd name="connsiteY6" fmla="*/ 57809 h 310781"/>
                  <a:gd name="connsiteX7" fmla="*/ 63685 w 188703"/>
                  <a:gd name="connsiteY7" fmla="*/ 78972 h 310781"/>
                  <a:gd name="connsiteX8" fmla="*/ 73932 w 188703"/>
                  <a:gd name="connsiteY8" fmla="*/ 108599 h 310781"/>
                  <a:gd name="connsiteX9" fmla="*/ 110020 w 188703"/>
                  <a:gd name="connsiteY9" fmla="*/ 128870 h 310781"/>
                  <a:gd name="connsiteX10" fmla="*/ 156800 w 188703"/>
                  <a:gd name="connsiteY10" fmla="*/ 156270 h 310781"/>
                  <a:gd name="connsiteX11" fmla="*/ 143657 w 188703"/>
                  <a:gd name="connsiteY11" fmla="*/ 297056 h 310781"/>
                  <a:gd name="connsiteX12" fmla="*/ 75492 w 188703"/>
                  <a:gd name="connsiteY12" fmla="*/ 310422 h 310781"/>
                  <a:gd name="connsiteX13" fmla="*/ 16905 w 188703"/>
                  <a:gd name="connsiteY13" fmla="*/ 291041 h 310781"/>
                  <a:gd name="connsiteX14" fmla="*/ 4876 w 188703"/>
                  <a:gd name="connsiteY14" fmla="*/ 279680 h 310781"/>
                  <a:gd name="connsiteX15" fmla="*/ 5322 w 188703"/>
                  <a:gd name="connsiteY15" fmla="*/ 252726 h 310781"/>
                  <a:gd name="connsiteX16" fmla="*/ 15791 w 188703"/>
                  <a:gd name="connsiteY16" fmla="*/ 239806 h 310781"/>
                  <a:gd name="connsiteX17" fmla="*/ 42523 w 188703"/>
                  <a:gd name="connsiteY17" fmla="*/ 236910 h 310781"/>
                  <a:gd name="connsiteX18" fmla="*/ 62126 w 188703"/>
                  <a:gd name="connsiteY18" fmla="*/ 249385 h 310781"/>
                  <a:gd name="connsiteX19" fmla="*/ 111579 w 188703"/>
                  <a:gd name="connsiteY19" fmla="*/ 249162 h 310781"/>
                  <a:gd name="connsiteX20" fmla="*/ 117594 w 188703"/>
                  <a:gd name="connsiteY20" fmla="*/ 203273 h 310781"/>
                  <a:gd name="connsiteX21" fmla="*/ 79279 w 188703"/>
                  <a:gd name="connsiteY21" fmla="*/ 180106 h 310781"/>
                  <a:gd name="connsiteX22" fmla="*/ 27152 w 188703"/>
                  <a:gd name="connsiteY22" fmla="*/ 144909 h 310781"/>
                  <a:gd name="connsiteX23" fmla="*/ 9777 w 188703"/>
                  <a:gd name="connsiteY23" fmla="*/ 58700 h 310781"/>
                  <a:gd name="connsiteX24" fmla="*/ 75714 w 188703"/>
                  <a:gd name="connsiteY24" fmla="*/ 2341 h 310781"/>
                  <a:gd name="connsiteX25" fmla="*/ 99996 w 188703"/>
                  <a:gd name="connsiteY25" fmla="*/ 114 h 310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8703" h="310781">
                    <a:moveTo>
                      <a:pt x="99996" y="114"/>
                    </a:moveTo>
                    <a:cubicBezTo>
                      <a:pt x="125613" y="-555"/>
                      <a:pt x="148335" y="8133"/>
                      <a:pt x="169052" y="23281"/>
                    </a:cubicBezTo>
                    <a:cubicBezTo>
                      <a:pt x="172839" y="26177"/>
                      <a:pt x="176626" y="29296"/>
                      <a:pt x="179076" y="33528"/>
                    </a:cubicBezTo>
                    <a:cubicBezTo>
                      <a:pt x="183532" y="41547"/>
                      <a:pt x="183309" y="50235"/>
                      <a:pt x="177294" y="56695"/>
                    </a:cubicBezTo>
                    <a:cubicBezTo>
                      <a:pt x="172171" y="62487"/>
                      <a:pt x="166824" y="68279"/>
                      <a:pt x="161032" y="73180"/>
                    </a:cubicBezTo>
                    <a:cubicBezTo>
                      <a:pt x="153013" y="80085"/>
                      <a:pt x="146776" y="79640"/>
                      <a:pt x="138979" y="72511"/>
                    </a:cubicBezTo>
                    <a:cubicBezTo>
                      <a:pt x="123608" y="58477"/>
                      <a:pt x="106010" y="53354"/>
                      <a:pt x="85516" y="57809"/>
                    </a:cubicBezTo>
                    <a:cubicBezTo>
                      <a:pt x="73932" y="60259"/>
                      <a:pt x="66581" y="67388"/>
                      <a:pt x="63685" y="78972"/>
                    </a:cubicBezTo>
                    <a:cubicBezTo>
                      <a:pt x="60567" y="91001"/>
                      <a:pt x="64131" y="101025"/>
                      <a:pt x="73932" y="108599"/>
                    </a:cubicBezTo>
                    <a:cubicBezTo>
                      <a:pt x="84848" y="117287"/>
                      <a:pt x="97322" y="123301"/>
                      <a:pt x="110020" y="128870"/>
                    </a:cubicBezTo>
                    <a:cubicBezTo>
                      <a:pt x="126727" y="136221"/>
                      <a:pt x="142320" y="145132"/>
                      <a:pt x="156800" y="156270"/>
                    </a:cubicBezTo>
                    <a:cubicBezTo>
                      <a:pt x="205585" y="194140"/>
                      <a:pt x="196229" y="268765"/>
                      <a:pt x="143657" y="297056"/>
                    </a:cubicBezTo>
                    <a:cubicBezTo>
                      <a:pt x="122272" y="308640"/>
                      <a:pt x="99550" y="311981"/>
                      <a:pt x="75492" y="310422"/>
                    </a:cubicBezTo>
                    <a:cubicBezTo>
                      <a:pt x="54106" y="309085"/>
                      <a:pt x="34281" y="303962"/>
                      <a:pt x="16905" y="291041"/>
                    </a:cubicBezTo>
                    <a:cubicBezTo>
                      <a:pt x="12450" y="287700"/>
                      <a:pt x="8440" y="283913"/>
                      <a:pt x="4876" y="279680"/>
                    </a:cubicBezTo>
                    <a:cubicBezTo>
                      <a:pt x="-1807" y="271438"/>
                      <a:pt x="-1584" y="260968"/>
                      <a:pt x="5322" y="252726"/>
                    </a:cubicBezTo>
                    <a:cubicBezTo>
                      <a:pt x="8886" y="248494"/>
                      <a:pt x="12450" y="244038"/>
                      <a:pt x="15791" y="239806"/>
                    </a:cubicBezTo>
                    <a:cubicBezTo>
                      <a:pt x="24256" y="229559"/>
                      <a:pt x="32053" y="228668"/>
                      <a:pt x="42523" y="236910"/>
                    </a:cubicBezTo>
                    <a:cubicBezTo>
                      <a:pt x="48760" y="241588"/>
                      <a:pt x="54998" y="246266"/>
                      <a:pt x="62126" y="249385"/>
                    </a:cubicBezTo>
                    <a:cubicBezTo>
                      <a:pt x="78610" y="256513"/>
                      <a:pt x="95318" y="256736"/>
                      <a:pt x="111579" y="249162"/>
                    </a:cubicBezTo>
                    <a:cubicBezTo>
                      <a:pt x="131851" y="239806"/>
                      <a:pt x="134524" y="217752"/>
                      <a:pt x="117594" y="203273"/>
                    </a:cubicBezTo>
                    <a:cubicBezTo>
                      <a:pt x="106010" y="193471"/>
                      <a:pt x="92644" y="186788"/>
                      <a:pt x="79279" y="180106"/>
                    </a:cubicBezTo>
                    <a:cubicBezTo>
                      <a:pt x="60344" y="170527"/>
                      <a:pt x="41855" y="160503"/>
                      <a:pt x="27152" y="144909"/>
                    </a:cubicBezTo>
                    <a:cubicBezTo>
                      <a:pt x="3985" y="119737"/>
                      <a:pt x="-693" y="90110"/>
                      <a:pt x="9777" y="58700"/>
                    </a:cubicBezTo>
                    <a:cubicBezTo>
                      <a:pt x="20247" y="27068"/>
                      <a:pt x="43859" y="9470"/>
                      <a:pt x="75714" y="2341"/>
                    </a:cubicBezTo>
                    <a:cubicBezTo>
                      <a:pt x="83511" y="559"/>
                      <a:pt x="91753" y="-332"/>
                      <a:pt x="99996" y="114"/>
                    </a:cubicBezTo>
                  </a:path>
                </a:pathLst>
              </a:custGeom>
              <a:grpFill/>
              <a:ln w="2224" cap="flat">
                <a:noFill/>
                <a:prstDash val="solid"/>
                <a:miter/>
              </a:ln>
            </p:spPr>
            <p:txBody>
              <a:bodyPr rtlCol="0" anchor="ctr"/>
              <a:lstStyle/>
              <a:p>
                <a:endParaRPr lang="nl-NL"/>
              </a:p>
            </p:txBody>
          </p:sp>
          <p:sp>
            <p:nvSpPr>
              <p:cNvPr id="25" name="Graphic 13">
                <a:extLst>
                  <a:ext uri="{FF2B5EF4-FFF2-40B4-BE49-F238E27FC236}">
                    <a16:creationId xmlns:a16="http://schemas.microsoft.com/office/drawing/2014/main" id="{60D9A7D3-2B37-4EE1-B927-1E3B7DA8F7DC}"/>
                  </a:ext>
                </a:extLst>
              </p:cNvPr>
              <p:cNvSpPr/>
              <p:nvPr/>
            </p:nvSpPr>
            <p:spPr>
              <a:xfrm>
                <a:off x="1807515" y="1137089"/>
                <a:ext cx="149294" cy="297867"/>
              </a:xfrm>
              <a:custGeom>
                <a:avLst/>
                <a:gdLst>
                  <a:gd name="connsiteX0" fmla="*/ 322 w 149294"/>
                  <a:gd name="connsiteY0" fmla="*/ 189828 h 297867"/>
                  <a:gd name="connsiteX1" fmla="*/ 545 w 149294"/>
                  <a:gd name="connsiteY1" fmla="*/ 102505 h 297867"/>
                  <a:gd name="connsiteX2" fmla="*/ 33959 w 149294"/>
                  <a:gd name="connsiteY2" fmla="*/ 24761 h 297867"/>
                  <a:gd name="connsiteX3" fmla="*/ 100119 w 149294"/>
                  <a:gd name="connsiteY3" fmla="*/ 257 h 297867"/>
                  <a:gd name="connsiteX4" fmla="*/ 129524 w 149294"/>
                  <a:gd name="connsiteY4" fmla="*/ 257 h 297867"/>
                  <a:gd name="connsiteX5" fmla="*/ 149127 w 149294"/>
                  <a:gd name="connsiteY5" fmla="*/ 19415 h 297867"/>
                  <a:gd name="connsiteX6" fmla="*/ 149127 w 149294"/>
                  <a:gd name="connsiteY6" fmla="*/ 37236 h 297867"/>
                  <a:gd name="connsiteX7" fmla="*/ 129524 w 149294"/>
                  <a:gd name="connsiteY7" fmla="*/ 56616 h 297867"/>
                  <a:gd name="connsiteX8" fmla="*/ 109030 w 149294"/>
                  <a:gd name="connsiteY8" fmla="*/ 56616 h 297867"/>
                  <a:gd name="connsiteX9" fmla="*/ 61136 w 149294"/>
                  <a:gd name="connsiteY9" fmla="*/ 97382 h 297867"/>
                  <a:gd name="connsiteX10" fmla="*/ 59799 w 149294"/>
                  <a:gd name="connsiteY10" fmla="*/ 117208 h 297867"/>
                  <a:gd name="connsiteX11" fmla="*/ 59799 w 149294"/>
                  <a:gd name="connsiteY11" fmla="*/ 276260 h 297867"/>
                  <a:gd name="connsiteX12" fmla="*/ 38191 w 149294"/>
                  <a:gd name="connsiteY12" fmla="*/ 297868 h 297867"/>
                  <a:gd name="connsiteX13" fmla="*/ 20370 w 149294"/>
                  <a:gd name="connsiteY13" fmla="*/ 297868 h 297867"/>
                  <a:gd name="connsiteX14" fmla="*/ 99 w 149294"/>
                  <a:gd name="connsiteY14" fmla="*/ 278042 h 297867"/>
                  <a:gd name="connsiteX15" fmla="*/ 99 w 149294"/>
                  <a:gd name="connsiteY15" fmla="*/ 246855 h 297867"/>
                  <a:gd name="connsiteX16" fmla="*/ 99 w 149294"/>
                  <a:gd name="connsiteY16" fmla="*/ 189605 h 297867"/>
                  <a:gd name="connsiteX17" fmla="*/ 322 w 149294"/>
                  <a:gd name="connsiteY17" fmla="*/ 189605 h 297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9294" h="297867">
                    <a:moveTo>
                      <a:pt x="322" y="189828"/>
                    </a:moveTo>
                    <a:cubicBezTo>
                      <a:pt x="322" y="160646"/>
                      <a:pt x="-347" y="131687"/>
                      <a:pt x="545" y="102505"/>
                    </a:cubicBezTo>
                    <a:cubicBezTo>
                      <a:pt x="1213" y="72432"/>
                      <a:pt x="11237" y="45478"/>
                      <a:pt x="33959" y="24761"/>
                    </a:cubicBezTo>
                    <a:cubicBezTo>
                      <a:pt x="52671" y="7608"/>
                      <a:pt x="75393" y="1148"/>
                      <a:pt x="100119" y="257"/>
                    </a:cubicBezTo>
                    <a:cubicBezTo>
                      <a:pt x="109921" y="-188"/>
                      <a:pt x="119723" y="34"/>
                      <a:pt x="129524" y="257"/>
                    </a:cubicBezTo>
                    <a:cubicBezTo>
                      <a:pt x="141776" y="257"/>
                      <a:pt x="148904" y="7163"/>
                      <a:pt x="149127" y="19415"/>
                    </a:cubicBezTo>
                    <a:cubicBezTo>
                      <a:pt x="149350" y="25429"/>
                      <a:pt x="149350" y="31221"/>
                      <a:pt x="149127" y="37236"/>
                    </a:cubicBezTo>
                    <a:cubicBezTo>
                      <a:pt x="148682" y="49488"/>
                      <a:pt x="141999" y="56393"/>
                      <a:pt x="129524" y="56616"/>
                    </a:cubicBezTo>
                    <a:cubicBezTo>
                      <a:pt x="122618" y="56839"/>
                      <a:pt x="115713" y="56616"/>
                      <a:pt x="109030" y="56616"/>
                    </a:cubicBezTo>
                    <a:cubicBezTo>
                      <a:pt x="82521" y="56616"/>
                      <a:pt x="65591" y="71096"/>
                      <a:pt x="61136" y="97382"/>
                    </a:cubicBezTo>
                    <a:cubicBezTo>
                      <a:pt x="60022" y="104065"/>
                      <a:pt x="59799" y="110747"/>
                      <a:pt x="59799" y="117208"/>
                    </a:cubicBezTo>
                    <a:cubicBezTo>
                      <a:pt x="59799" y="170225"/>
                      <a:pt x="59799" y="223242"/>
                      <a:pt x="59799" y="276260"/>
                    </a:cubicBezTo>
                    <a:cubicBezTo>
                      <a:pt x="59799" y="291408"/>
                      <a:pt x="53116" y="297868"/>
                      <a:pt x="38191" y="297868"/>
                    </a:cubicBezTo>
                    <a:cubicBezTo>
                      <a:pt x="32177" y="297868"/>
                      <a:pt x="26385" y="297868"/>
                      <a:pt x="20370" y="297868"/>
                    </a:cubicBezTo>
                    <a:cubicBezTo>
                      <a:pt x="7673" y="297868"/>
                      <a:pt x="322" y="290962"/>
                      <a:pt x="99" y="278042"/>
                    </a:cubicBezTo>
                    <a:cubicBezTo>
                      <a:pt x="-124" y="267572"/>
                      <a:pt x="99" y="257325"/>
                      <a:pt x="99" y="246855"/>
                    </a:cubicBezTo>
                    <a:lnTo>
                      <a:pt x="99" y="189605"/>
                    </a:lnTo>
                    <a:lnTo>
                      <a:pt x="322" y="189605"/>
                    </a:lnTo>
                    <a:close/>
                  </a:path>
                </a:pathLst>
              </a:custGeom>
              <a:grpFill/>
              <a:ln w="2224" cap="flat">
                <a:noFill/>
                <a:prstDash val="solid"/>
                <a:miter/>
              </a:ln>
            </p:spPr>
            <p:txBody>
              <a:bodyPr rtlCol="0" anchor="ctr"/>
              <a:lstStyle/>
              <a:p>
                <a:endParaRPr lang="nl-NL"/>
              </a:p>
            </p:txBody>
          </p:sp>
          <p:sp>
            <p:nvSpPr>
              <p:cNvPr id="26" name="Graphic 13">
                <a:extLst>
                  <a:ext uri="{FF2B5EF4-FFF2-40B4-BE49-F238E27FC236}">
                    <a16:creationId xmlns:a16="http://schemas.microsoft.com/office/drawing/2014/main" id="{915A2A68-D698-4E44-9FF1-D23386F7DE47}"/>
                  </a:ext>
                </a:extLst>
              </p:cNvPr>
              <p:cNvSpPr/>
              <p:nvPr/>
            </p:nvSpPr>
            <p:spPr>
              <a:xfrm>
                <a:off x="1646334" y="1566610"/>
                <a:ext cx="59923" cy="298155"/>
              </a:xfrm>
              <a:custGeom>
                <a:avLst/>
                <a:gdLst>
                  <a:gd name="connsiteX0" fmla="*/ 59923 w 59923"/>
                  <a:gd name="connsiteY0" fmla="*/ 149251 h 298155"/>
                  <a:gd name="connsiteX1" fmla="*/ 59923 w 59923"/>
                  <a:gd name="connsiteY1" fmla="*/ 274889 h 298155"/>
                  <a:gd name="connsiteX2" fmla="*/ 36533 w 59923"/>
                  <a:gd name="connsiteY2" fmla="*/ 298056 h 298155"/>
                  <a:gd name="connsiteX3" fmla="*/ 19826 w 59923"/>
                  <a:gd name="connsiteY3" fmla="*/ 298056 h 298155"/>
                  <a:gd name="connsiteX4" fmla="*/ 0 w 59923"/>
                  <a:gd name="connsiteY4" fmla="*/ 277785 h 298155"/>
                  <a:gd name="connsiteX5" fmla="*/ 0 w 59923"/>
                  <a:gd name="connsiteY5" fmla="*/ 244370 h 298155"/>
                  <a:gd name="connsiteX6" fmla="*/ 0 w 59923"/>
                  <a:gd name="connsiteY6" fmla="*/ 22053 h 298155"/>
                  <a:gd name="connsiteX7" fmla="*/ 21831 w 59923"/>
                  <a:gd name="connsiteY7" fmla="*/ 0 h 298155"/>
                  <a:gd name="connsiteX8" fmla="*/ 38983 w 59923"/>
                  <a:gd name="connsiteY8" fmla="*/ 0 h 298155"/>
                  <a:gd name="connsiteX9" fmla="*/ 59700 w 59923"/>
                  <a:gd name="connsiteY9" fmla="*/ 20940 h 298155"/>
                  <a:gd name="connsiteX10" fmla="*/ 59700 w 59923"/>
                  <a:gd name="connsiteY10" fmla="*/ 71952 h 298155"/>
                  <a:gd name="connsiteX11" fmla="*/ 59700 w 59923"/>
                  <a:gd name="connsiteY11" fmla="*/ 149251 h 29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923" h="298155">
                    <a:moveTo>
                      <a:pt x="59923" y="149251"/>
                    </a:moveTo>
                    <a:cubicBezTo>
                      <a:pt x="59923" y="191130"/>
                      <a:pt x="59923" y="233009"/>
                      <a:pt x="59923" y="274889"/>
                    </a:cubicBezTo>
                    <a:cubicBezTo>
                      <a:pt x="59923" y="291596"/>
                      <a:pt x="53463" y="298056"/>
                      <a:pt x="36533" y="298056"/>
                    </a:cubicBezTo>
                    <a:cubicBezTo>
                      <a:pt x="30964" y="298056"/>
                      <a:pt x="25395" y="298279"/>
                      <a:pt x="19826" y="298056"/>
                    </a:cubicBezTo>
                    <a:cubicBezTo>
                      <a:pt x="7128" y="297833"/>
                      <a:pt x="0" y="290705"/>
                      <a:pt x="0" y="277785"/>
                    </a:cubicBezTo>
                    <a:cubicBezTo>
                      <a:pt x="0" y="266647"/>
                      <a:pt x="0" y="255509"/>
                      <a:pt x="0" y="244370"/>
                    </a:cubicBezTo>
                    <a:cubicBezTo>
                      <a:pt x="0" y="170190"/>
                      <a:pt x="0" y="96233"/>
                      <a:pt x="0" y="22053"/>
                    </a:cubicBezTo>
                    <a:cubicBezTo>
                      <a:pt x="0" y="6460"/>
                      <a:pt x="6460" y="0"/>
                      <a:pt x="21831" y="0"/>
                    </a:cubicBezTo>
                    <a:cubicBezTo>
                      <a:pt x="27623" y="0"/>
                      <a:pt x="33414" y="0"/>
                      <a:pt x="38983" y="0"/>
                    </a:cubicBezTo>
                    <a:cubicBezTo>
                      <a:pt x="52795" y="223"/>
                      <a:pt x="59700" y="7128"/>
                      <a:pt x="59700" y="20940"/>
                    </a:cubicBezTo>
                    <a:cubicBezTo>
                      <a:pt x="59700" y="37870"/>
                      <a:pt x="59700" y="55022"/>
                      <a:pt x="59700" y="71952"/>
                    </a:cubicBezTo>
                    <a:lnTo>
                      <a:pt x="59700" y="149251"/>
                    </a:lnTo>
                    <a:close/>
                  </a:path>
                </a:pathLst>
              </a:custGeom>
              <a:grpFill/>
              <a:ln w="2224" cap="flat">
                <a:noFill/>
                <a:prstDash val="solid"/>
                <a:miter/>
              </a:ln>
            </p:spPr>
            <p:txBody>
              <a:bodyPr rtlCol="0" anchor="ctr"/>
              <a:lstStyle/>
              <a:p>
                <a:endParaRPr lang="nl-NL"/>
              </a:p>
            </p:txBody>
          </p:sp>
        </p:grpSp>
      </p:grpSp>
    </p:spTree>
    <p:extLst>
      <p:ext uri="{BB962C8B-B14F-4D97-AF65-F5344CB8AC3E}">
        <p14:creationId xmlns:p14="http://schemas.microsoft.com/office/powerpoint/2010/main" val="2518808933"/>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el Donkergroen">
    <p:bg>
      <p:bgPr>
        <a:solidFill>
          <a:schemeClr val="accent1"/>
        </a:solidFill>
        <a:effectLst/>
      </p:bgPr>
    </p:bg>
    <p:spTree>
      <p:nvGrpSpPr>
        <p:cNvPr id="1" name=""/>
        <p:cNvGrpSpPr/>
        <p:nvPr/>
      </p:nvGrpSpPr>
      <p:grpSpPr>
        <a:xfrm>
          <a:off x="0" y="0"/>
          <a:ext cx="0" cy="0"/>
          <a:chOff x="0" y="0"/>
          <a:chExt cx="0" cy="0"/>
        </a:xfrm>
      </p:grpSpPr>
      <p:sp>
        <p:nvSpPr>
          <p:cNvPr id="11" name="Auteur en datum"/>
          <p:cNvSpPr txBox="1">
            <a:spLocks noGrp="1"/>
          </p:cNvSpPr>
          <p:nvPr>
            <p:ph type="body" sz="quarter" idx="21" hasCustomPrompt="1"/>
          </p:nvPr>
        </p:nvSpPr>
        <p:spPr>
          <a:xfrm>
            <a:off x="2459736" y="10633820"/>
            <a:ext cx="19732753" cy="713231"/>
          </a:xfrm>
          <a:prstGeom prst="rect">
            <a:avLst/>
          </a:prstGeom>
        </p:spPr>
        <p:txBody>
          <a:bodyPr lIns="216000" tIns="45719" rIns="45719" bIns="45719" anchor="b">
            <a:noAutofit/>
          </a:bodyPr>
          <a:lstStyle>
            <a:lvl1pPr marL="0" indent="0" defTabSz="825500">
              <a:lnSpc>
                <a:spcPct val="100000"/>
              </a:lnSpc>
              <a:spcBef>
                <a:spcPts val="0"/>
              </a:spcBef>
              <a:buSzTx/>
              <a:buNone/>
              <a:defRPr sz="4000" b="0">
                <a:solidFill>
                  <a:schemeClr val="bg1"/>
                </a:solidFill>
                <a:latin typeface="+mn-lt"/>
              </a:defRPr>
            </a:lvl1pPr>
          </a:lstStyle>
          <a:p>
            <a:r>
              <a:rPr lang="nl-NL"/>
              <a:t>Auteurs</a:t>
            </a:r>
            <a:endParaRPr/>
          </a:p>
        </p:txBody>
      </p:sp>
      <p:sp>
        <p:nvSpPr>
          <p:cNvPr id="12" name="Naam presentatie"/>
          <p:cNvSpPr txBox="1">
            <a:spLocks noGrp="1"/>
          </p:cNvSpPr>
          <p:nvPr>
            <p:ph type="title" hasCustomPrompt="1"/>
          </p:nvPr>
        </p:nvSpPr>
        <p:spPr>
          <a:xfrm>
            <a:off x="2505456" y="6629400"/>
            <a:ext cx="19732753" cy="1517905"/>
          </a:xfrm>
          <a:prstGeom prst="rect">
            <a:avLst/>
          </a:prstGeom>
        </p:spPr>
        <p:txBody>
          <a:bodyPr lIns="144000" anchor="t">
            <a:noAutofit/>
          </a:bodyPr>
          <a:lstStyle>
            <a:lvl1pPr>
              <a:defRPr sz="12000" b="0" spc="0" baseline="0">
                <a:solidFill>
                  <a:schemeClr val="bg1"/>
                </a:solidFill>
                <a:latin typeface="+mj-lt"/>
              </a:defRPr>
            </a:lvl1pPr>
          </a:lstStyle>
          <a:p>
            <a:r>
              <a:rPr lang="nl-NL"/>
              <a:t>Titel</a:t>
            </a:r>
            <a:endParaRPr/>
          </a:p>
        </p:txBody>
      </p:sp>
      <p:sp>
        <p:nvSpPr>
          <p:cNvPr id="13" name="Hoofdtekst - niveau één…"/>
          <p:cNvSpPr txBox="1">
            <a:spLocks noGrp="1"/>
          </p:cNvSpPr>
          <p:nvPr>
            <p:ph type="body" sz="quarter" idx="1" hasCustomPrompt="1"/>
          </p:nvPr>
        </p:nvSpPr>
        <p:spPr>
          <a:xfrm>
            <a:off x="2496312" y="2569464"/>
            <a:ext cx="19741897" cy="4059936"/>
          </a:xfrm>
          <a:prstGeom prst="rect">
            <a:avLst/>
          </a:prstGeom>
        </p:spPr>
        <p:txBody>
          <a:bodyPr lIns="108000" bIns="0" anchor="b">
            <a:noAutofit/>
          </a:bodyPr>
          <a:lstStyle>
            <a:lvl1pPr marL="0" indent="0" defTabSz="825500">
              <a:lnSpc>
                <a:spcPct val="100000"/>
              </a:lnSpc>
              <a:spcBef>
                <a:spcPts val="0"/>
              </a:spcBef>
              <a:buSzTx/>
              <a:buNone/>
              <a:defRPr sz="12200" b="0" spc="110" baseline="0">
                <a:solidFill>
                  <a:schemeClr val="bg1"/>
                </a:solidFill>
              </a:defRPr>
            </a:lvl1pPr>
            <a:lvl2pPr marL="0" indent="0" defTabSz="825500">
              <a:lnSpc>
                <a:spcPct val="100000"/>
              </a:lnSpc>
              <a:spcBef>
                <a:spcPts val="0"/>
              </a:spcBef>
              <a:buSzTx/>
              <a:buNone/>
              <a:defRPr sz="5500" b="1"/>
            </a:lvl2pPr>
            <a:lvl3pPr marL="0" indent="0" defTabSz="825500">
              <a:lnSpc>
                <a:spcPct val="100000"/>
              </a:lnSpc>
              <a:spcBef>
                <a:spcPts val="0"/>
              </a:spcBef>
              <a:buSzTx/>
              <a:buNone/>
              <a:defRPr sz="5500" b="1"/>
            </a:lvl3pPr>
            <a:lvl4pPr marL="0" indent="0" defTabSz="825500">
              <a:lnSpc>
                <a:spcPct val="100000"/>
              </a:lnSpc>
              <a:spcBef>
                <a:spcPts val="0"/>
              </a:spcBef>
              <a:buSzTx/>
              <a:buNone/>
              <a:defRPr sz="5500" b="1"/>
            </a:lvl4pPr>
            <a:lvl5pPr marL="0" indent="0" defTabSz="825500">
              <a:lnSpc>
                <a:spcPct val="100000"/>
              </a:lnSpc>
              <a:spcBef>
                <a:spcPts val="0"/>
              </a:spcBef>
              <a:buSzTx/>
              <a:buNone/>
              <a:defRPr sz="5500" b="1"/>
            </a:lvl5pPr>
          </a:lstStyle>
          <a:p>
            <a:r>
              <a:rPr lang="nl-NL"/>
              <a:t>Subtitel</a:t>
            </a:r>
          </a:p>
        </p:txBody>
      </p:sp>
      <p:sp>
        <p:nvSpPr>
          <p:cNvPr id="9" name="Tijdelijke aanduiding voor datum 4">
            <a:extLst>
              <a:ext uri="{FF2B5EF4-FFF2-40B4-BE49-F238E27FC236}">
                <a16:creationId xmlns:a16="http://schemas.microsoft.com/office/drawing/2014/main" id="{1AB02A12-0190-465E-B00A-B91F85BC46FC}"/>
              </a:ext>
            </a:extLst>
          </p:cNvPr>
          <p:cNvSpPr>
            <a:spLocks noGrp="1"/>
          </p:cNvSpPr>
          <p:nvPr>
            <p:ph type="dt" sz="half" idx="22"/>
          </p:nvPr>
        </p:nvSpPr>
        <p:spPr>
          <a:xfrm>
            <a:off x="2459736" y="11367879"/>
            <a:ext cx="19732752" cy="730250"/>
          </a:xfrm>
          <a:prstGeom prst="rect">
            <a:avLst/>
          </a:prstGeom>
        </p:spPr>
        <p:txBody>
          <a:bodyPr vert="horz" lIns="180000" tIns="45720" rIns="91440" bIns="45720" rtlCol="0" anchor="ctr"/>
          <a:lstStyle>
            <a:lvl1pPr algn="l">
              <a:defRPr sz="3200">
                <a:solidFill>
                  <a:schemeClr val="bg1"/>
                </a:solidFill>
              </a:defRPr>
            </a:lvl1pPr>
          </a:lstStyle>
          <a:p>
            <a:fld id="{B150532B-FCF9-426A-ADF2-F182BD70000C}" type="datetime4">
              <a:rPr lang="nl-NL" smtClean="0"/>
              <a:pPr/>
              <a:t>13 juni 2023</a:t>
            </a:fld>
            <a:endParaRPr lang="nl-NL"/>
          </a:p>
        </p:txBody>
      </p:sp>
      <p:sp>
        <p:nvSpPr>
          <p:cNvPr id="10" name="Dianummer">
            <a:extLst>
              <a:ext uri="{FF2B5EF4-FFF2-40B4-BE49-F238E27FC236}">
                <a16:creationId xmlns:a16="http://schemas.microsoft.com/office/drawing/2014/main" id="{869DACE5-1BFD-404D-92ED-AAFC9B1C2565}"/>
              </a:ext>
            </a:extLst>
          </p:cNvPr>
          <p:cNvSpPr txBox="1">
            <a:spLocks noGrp="1"/>
          </p:cNvSpPr>
          <p:nvPr>
            <p:ph type="sldNum" sz="quarter" idx="2"/>
          </p:nvPr>
        </p:nvSpPr>
        <p:spPr>
          <a:xfrm>
            <a:off x="23177500" y="13749162"/>
            <a:ext cx="811276" cy="441146"/>
          </a:xfrm>
          <a:prstGeom prst="rect">
            <a:avLst/>
          </a:prstGeom>
          <a:ln w="12700">
            <a:miter lim="400000"/>
          </a:ln>
        </p:spPr>
        <p:txBody>
          <a:bodyPr wrap="square" lIns="50800" tIns="50800" rIns="50800" bIns="50800" anchor="b">
            <a:spAutoFit/>
          </a:bodyPr>
          <a:lstStyle>
            <a:lvl1pPr algn="r" defTabSz="584200">
              <a:lnSpc>
                <a:spcPct val="100000"/>
              </a:lnSpc>
              <a:spcBef>
                <a:spcPts val="0"/>
              </a:spcBef>
              <a:defRPr sz="2200">
                <a:solidFill>
                  <a:schemeClr val="tx1"/>
                </a:solidFill>
                <a:latin typeface="+mn-lt"/>
                <a:ea typeface="Source Sans Pro" panose="020B0503030403020204" pitchFamily="34" charset="0"/>
              </a:defRPr>
            </a:lvl1pPr>
          </a:lstStyle>
          <a:p>
            <a:fld id="{86CB4B4D-7CA3-9044-876B-883B54F8677D}" type="slidenum">
              <a:rPr lang="nl-NL" smtClean="0"/>
              <a:pPr/>
              <a:t>‹nr.›</a:t>
            </a:fld>
            <a:endParaRPr lang="nl-NL"/>
          </a:p>
        </p:txBody>
      </p:sp>
      <p:grpSp>
        <p:nvGrpSpPr>
          <p:cNvPr id="21" name="Groep 20">
            <a:extLst>
              <a:ext uri="{FF2B5EF4-FFF2-40B4-BE49-F238E27FC236}">
                <a16:creationId xmlns:a16="http://schemas.microsoft.com/office/drawing/2014/main" id="{F90CF876-9B7D-4AF2-B4EE-CB18DFF3D81F}"/>
              </a:ext>
            </a:extLst>
          </p:cNvPr>
          <p:cNvGrpSpPr/>
          <p:nvPr userDrawn="1"/>
        </p:nvGrpSpPr>
        <p:grpSpPr>
          <a:xfrm>
            <a:off x="367010" y="413369"/>
            <a:ext cx="2165696" cy="2165696"/>
            <a:chOff x="367010" y="413369"/>
            <a:chExt cx="2165696" cy="2165696"/>
          </a:xfrm>
        </p:grpSpPr>
        <p:sp>
          <p:nvSpPr>
            <p:cNvPr id="2" name="Graphic 13">
              <a:extLst>
                <a:ext uri="{FF2B5EF4-FFF2-40B4-BE49-F238E27FC236}">
                  <a16:creationId xmlns:a16="http://schemas.microsoft.com/office/drawing/2014/main" id="{7FB56C70-CECC-4544-83F2-2BEA4F1607E8}"/>
                </a:ext>
              </a:extLst>
            </p:cNvPr>
            <p:cNvSpPr/>
            <p:nvPr/>
          </p:nvSpPr>
          <p:spPr>
            <a:xfrm>
              <a:off x="367010" y="413369"/>
              <a:ext cx="2165696" cy="2165696"/>
            </a:xfrm>
            <a:custGeom>
              <a:avLst/>
              <a:gdLst>
                <a:gd name="connsiteX0" fmla="*/ 1200912 w 2165696"/>
                <a:gd name="connsiteY0" fmla="*/ 2165697 h 2165696"/>
                <a:gd name="connsiteX1" fmla="*/ 0 w 2165696"/>
                <a:gd name="connsiteY1" fmla="*/ 2165697 h 2165696"/>
                <a:gd name="connsiteX2" fmla="*/ 0 w 2165696"/>
                <a:gd name="connsiteY2" fmla="*/ 964784 h 2165696"/>
                <a:gd name="connsiteX3" fmla="*/ 964784 w 2165696"/>
                <a:gd name="connsiteY3" fmla="*/ 0 h 2165696"/>
                <a:gd name="connsiteX4" fmla="*/ 2165697 w 2165696"/>
                <a:gd name="connsiteY4" fmla="*/ 0 h 2165696"/>
                <a:gd name="connsiteX5" fmla="*/ 2165697 w 2165696"/>
                <a:gd name="connsiteY5" fmla="*/ 1200912 h 2165696"/>
                <a:gd name="connsiteX6" fmla="*/ 1200912 w 2165696"/>
                <a:gd name="connsiteY6" fmla="*/ 2165697 h 2165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5696" h="2165696">
                  <a:moveTo>
                    <a:pt x="1200912" y="2165697"/>
                  </a:moveTo>
                  <a:lnTo>
                    <a:pt x="0" y="2165697"/>
                  </a:lnTo>
                  <a:lnTo>
                    <a:pt x="0" y="964784"/>
                  </a:lnTo>
                  <a:cubicBezTo>
                    <a:pt x="0" y="431936"/>
                    <a:pt x="431936" y="0"/>
                    <a:pt x="964784" y="0"/>
                  </a:cubicBezTo>
                  <a:lnTo>
                    <a:pt x="2165697" y="0"/>
                  </a:lnTo>
                  <a:lnTo>
                    <a:pt x="2165697" y="1200912"/>
                  </a:lnTo>
                  <a:cubicBezTo>
                    <a:pt x="2165697" y="1733760"/>
                    <a:pt x="1733760" y="2165697"/>
                    <a:pt x="1200912" y="2165697"/>
                  </a:cubicBezTo>
                </a:path>
              </a:pathLst>
            </a:custGeom>
            <a:solidFill>
              <a:schemeClr val="bg1"/>
            </a:solidFill>
            <a:ln w="2224" cap="flat">
              <a:noFill/>
              <a:prstDash val="solid"/>
              <a:miter/>
            </a:ln>
          </p:spPr>
          <p:txBody>
            <a:bodyPr rtlCol="0" anchor="ctr"/>
            <a:lstStyle/>
            <a:p>
              <a:endParaRPr lang="nl-NL"/>
            </a:p>
          </p:txBody>
        </p:sp>
        <p:grpSp>
          <p:nvGrpSpPr>
            <p:cNvPr id="3" name="Graphic 13">
              <a:extLst>
                <a:ext uri="{FF2B5EF4-FFF2-40B4-BE49-F238E27FC236}">
                  <a16:creationId xmlns:a16="http://schemas.microsoft.com/office/drawing/2014/main" id="{122345DC-CB5F-41EA-9FBA-530971CF6BA9}"/>
                </a:ext>
              </a:extLst>
            </p:cNvPr>
            <p:cNvGrpSpPr/>
            <p:nvPr/>
          </p:nvGrpSpPr>
          <p:grpSpPr>
            <a:xfrm>
              <a:off x="610655" y="1130302"/>
              <a:ext cx="1628994" cy="740997"/>
              <a:chOff x="610655" y="1130302"/>
              <a:chExt cx="1628994" cy="740997"/>
            </a:xfrm>
            <a:solidFill>
              <a:schemeClr val="tx1"/>
            </a:solidFill>
          </p:grpSpPr>
          <p:sp>
            <p:nvSpPr>
              <p:cNvPr id="4" name="Graphic 13">
                <a:extLst>
                  <a:ext uri="{FF2B5EF4-FFF2-40B4-BE49-F238E27FC236}">
                    <a16:creationId xmlns:a16="http://schemas.microsoft.com/office/drawing/2014/main" id="{64227B14-D02D-409A-A58A-B9822038522D}"/>
                  </a:ext>
                </a:extLst>
              </p:cNvPr>
              <p:cNvSpPr/>
              <p:nvPr/>
            </p:nvSpPr>
            <p:spPr>
              <a:xfrm>
                <a:off x="1171083" y="1566053"/>
                <a:ext cx="397284" cy="305246"/>
              </a:xfrm>
              <a:custGeom>
                <a:avLst/>
                <a:gdLst>
                  <a:gd name="connsiteX0" fmla="*/ 397284 w 397284"/>
                  <a:gd name="connsiteY0" fmla="*/ 109933 h 305246"/>
                  <a:gd name="connsiteX1" fmla="*/ 397284 w 397284"/>
                  <a:gd name="connsiteY1" fmla="*/ 192801 h 305246"/>
                  <a:gd name="connsiteX2" fmla="*/ 291695 w 397284"/>
                  <a:gd name="connsiteY2" fmla="*/ 304850 h 305246"/>
                  <a:gd name="connsiteX3" fmla="*/ 204595 w 397284"/>
                  <a:gd name="connsiteY3" fmla="*/ 275446 h 305246"/>
                  <a:gd name="connsiteX4" fmla="*/ 191898 w 397284"/>
                  <a:gd name="connsiteY4" fmla="*/ 275669 h 305246"/>
                  <a:gd name="connsiteX5" fmla="*/ 143781 w 397284"/>
                  <a:gd name="connsiteY5" fmla="*/ 301509 h 305246"/>
                  <a:gd name="connsiteX6" fmla="*/ 15024 w 397284"/>
                  <a:gd name="connsiteY6" fmla="*/ 251610 h 305246"/>
                  <a:gd name="connsiteX7" fmla="*/ 99 w 397284"/>
                  <a:gd name="connsiteY7" fmla="*/ 195474 h 305246"/>
                  <a:gd name="connsiteX8" fmla="*/ 99 w 397284"/>
                  <a:gd name="connsiteY8" fmla="*/ 21942 h 305246"/>
                  <a:gd name="connsiteX9" fmla="*/ 21261 w 397284"/>
                  <a:gd name="connsiteY9" fmla="*/ 780 h 305246"/>
                  <a:gd name="connsiteX10" fmla="*/ 40196 w 397284"/>
                  <a:gd name="connsiteY10" fmla="*/ 780 h 305246"/>
                  <a:gd name="connsiteX11" fmla="*/ 60022 w 397284"/>
                  <a:gd name="connsiteY11" fmla="*/ 20606 h 305246"/>
                  <a:gd name="connsiteX12" fmla="*/ 60022 w 397284"/>
                  <a:gd name="connsiteY12" fmla="*/ 58921 h 305246"/>
                  <a:gd name="connsiteX13" fmla="*/ 60022 w 397284"/>
                  <a:gd name="connsiteY13" fmla="*/ 192801 h 305246"/>
                  <a:gd name="connsiteX14" fmla="*/ 94996 w 397284"/>
                  <a:gd name="connsiteY14" fmla="*/ 245373 h 305246"/>
                  <a:gd name="connsiteX15" fmla="*/ 168953 w 397284"/>
                  <a:gd name="connsiteY15" fmla="*/ 190128 h 305246"/>
                  <a:gd name="connsiteX16" fmla="*/ 168953 w 397284"/>
                  <a:gd name="connsiteY16" fmla="*/ 22165 h 305246"/>
                  <a:gd name="connsiteX17" fmla="*/ 190561 w 397284"/>
                  <a:gd name="connsiteY17" fmla="*/ 557 h 305246"/>
                  <a:gd name="connsiteX18" fmla="*/ 209941 w 397284"/>
                  <a:gd name="connsiteY18" fmla="*/ 557 h 305246"/>
                  <a:gd name="connsiteX19" fmla="*/ 228208 w 397284"/>
                  <a:gd name="connsiteY19" fmla="*/ 18155 h 305246"/>
                  <a:gd name="connsiteX20" fmla="*/ 228431 w 397284"/>
                  <a:gd name="connsiteY20" fmla="*/ 24170 h 305246"/>
                  <a:gd name="connsiteX21" fmla="*/ 228431 w 397284"/>
                  <a:gd name="connsiteY21" fmla="*/ 189905 h 305246"/>
                  <a:gd name="connsiteX22" fmla="*/ 248479 w 397284"/>
                  <a:gd name="connsiteY22" fmla="*/ 237576 h 305246"/>
                  <a:gd name="connsiteX23" fmla="*/ 307288 w 397284"/>
                  <a:gd name="connsiteY23" fmla="*/ 243145 h 305246"/>
                  <a:gd name="connsiteX24" fmla="*/ 337139 w 397284"/>
                  <a:gd name="connsiteY24" fmla="*/ 193692 h 305246"/>
                  <a:gd name="connsiteX25" fmla="*/ 337139 w 397284"/>
                  <a:gd name="connsiteY25" fmla="*/ 23501 h 305246"/>
                  <a:gd name="connsiteX26" fmla="*/ 338698 w 397284"/>
                  <a:gd name="connsiteY26" fmla="*/ 11918 h 305246"/>
                  <a:gd name="connsiteX27" fmla="*/ 354291 w 397284"/>
                  <a:gd name="connsiteY27" fmla="*/ 334 h 305246"/>
                  <a:gd name="connsiteX28" fmla="*/ 380355 w 397284"/>
                  <a:gd name="connsiteY28" fmla="*/ 334 h 305246"/>
                  <a:gd name="connsiteX29" fmla="*/ 397062 w 397284"/>
                  <a:gd name="connsiteY29" fmla="*/ 19492 h 305246"/>
                  <a:gd name="connsiteX30" fmla="*/ 397284 w 397284"/>
                  <a:gd name="connsiteY30" fmla="*/ 109933 h 30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97284" h="305246">
                    <a:moveTo>
                      <a:pt x="397284" y="109933"/>
                    </a:moveTo>
                    <a:lnTo>
                      <a:pt x="397284" y="192801"/>
                    </a:lnTo>
                    <a:cubicBezTo>
                      <a:pt x="397284" y="255397"/>
                      <a:pt x="354291" y="301063"/>
                      <a:pt x="291695" y="304850"/>
                    </a:cubicBezTo>
                    <a:cubicBezTo>
                      <a:pt x="258503" y="306855"/>
                      <a:pt x="229099" y="298613"/>
                      <a:pt x="204595" y="275446"/>
                    </a:cubicBezTo>
                    <a:cubicBezTo>
                      <a:pt x="200140" y="271213"/>
                      <a:pt x="197244" y="271436"/>
                      <a:pt x="191898" y="275669"/>
                    </a:cubicBezTo>
                    <a:cubicBezTo>
                      <a:pt x="177418" y="287252"/>
                      <a:pt x="161825" y="296831"/>
                      <a:pt x="143781" y="301509"/>
                    </a:cubicBezTo>
                    <a:cubicBezTo>
                      <a:pt x="96778" y="313315"/>
                      <a:pt x="40865" y="297277"/>
                      <a:pt x="15024" y="251610"/>
                    </a:cubicBezTo>
                    <a:cubicBezTo>
                      <a:pt x="5223" y="234235"/>
                      <a:pt x="99" y="215300"/>
                      <a:pt x="99" y="195474"/>
                    </a:cubicBezTo>
                    <a:cubicBezTo>
                      <a:pt x="-124" y="137556"/>
                      <a:pt x="99" y="79860"/>
                      <a:pt x="99" y="21942"/>
                    </a:cubicBezTo>
                    <a:cubicBezTo>
                      <a:pt x="99" y="7685"/>
                      <a:pt x="7005" y="1002"/>
                      <a:pt x="21261" y="780"/>
                    </a:cubicBezTo>
                    <a:cubicBezTo>
                      <a:pt x="27499" y="780"/>
                      <a:pt x="33959" y="780"/>
                      <a:pt x="40196" y="780"/>
                    </a:cubicBezTo>
                    <a:cubicBezTo>
                      <a:pt x="52671" y="1002"/>
                      <a:pt x="59799" y="7908"/>
                      <a:pt x="60022" y="20606"/>
                    </a:cubicBezTo>
                    <a:cubicBezTo>
                      <a:pt x="60245" y="33303"/>
                      <a:pt x="60022" y="46223"/>
                      <a:pt x="60022" y="58921"/>
                    </a:cubicBezTo>
                    <a:cubicBezTo>
                      <a:pt x="60022" y="103473"/>
                      <a:pt x="60022" y="148248"/>
                      <a:pt x="60022" y="192801"/>
                    </a:cubicBezTo>
                    <a:cubicBezTo>
                      <a:pt x="60022" y="217973"/>
                      <a:pt x="73165" y="238467"/>
                      <a:pt x="94996" y="245373"/>
                    </a:cubicBezTo>
                    <a:cubicBezTo>
                      <a:pt x="131306" y="257179"/>
                      <a:pt x="168953" y="237131"/>
                      <a:pt x="168953" y="190128"/>
                    </a:cubicBezTo>
                    <a:cubicBezTo>
                      <a:pt x="169176" y="134214"/>
                      <a:pt x="168953" y="78301"/>
                      <a:pt x="168953" y="22165"/>
                    </a:cubicBezTo>
                    <a:cubicBezTo>
                      <a:pt x="168953" y="6794"/>
                      <a:pt x="175190" y="557"/>
                      <a:pt x="190561" y="557"/>
                    </a:cubicBezTo>
                    <a:cubicBezTo>
                      <a:pt x="197021" y="557"/>
                      <a:pt x="203481" y="334"/>
                      <a:pt x="209941" y="557"/>
                    </a:cubicBezTo>
                    <a:cubicBezTo>
                      <a:pt x="220857" y="1002"/>
                      <a:pt x="227317" y="7017"/>
                      <a:pt x="228208" y="18155"/>
                    </a:cubicBezTo>
                    <a:cubicBezTo>
                      <a:pt x="228431" y="20160"/>
                      <a:pt x="228431" y="22165"/>
                      <a:pt x="228431" y="24170"/>
                    </a:cubicBezTo>
                    <a:cubicBezTo>
                      <a:pt x="228431" y="80083"/>
                      <a:pt x="228431" y="133769"/>
                      <a:pt x="228431" y="189905"/>
                    </a:cubicBezTo>
                    <a:cubicBezTo>
                      <a:pt x="228431" y="207949"/>
                      <a:pt x="233331" y="226438"/>
                      <a:pt x="248479" y="237576"/>
                    </a:cubicBezTo>
                    <a:cubicBezTo>
                      <a:pt x="266746" y="251165"/>
                      <a:pt x="287017" y="252278"/>
                      <a:pt x="307288" y="243145"/>
                    </a:cubicBezTo>
                    <a:cubicBezTo>
                      <a:pt x="328005" y="233789"/>
                      <a:pt x="336916" y="215745"/>
                      <a:pt x="337139" y="193692"/>
                    </a:cubicBezTo>
                    <a:cubicBezTo>
                      <a:pt x="337584" y="137110"/>
                      <a:pt x="337361" y="80306"/>
                      <a:pt x="337139" y="23501"/>
                    </a:cubicBezTo>
                    <a:cubicBezTo>
                      <a:pt x="337139" y="19492"/>
                      <a:pt x="337361" y="15705"/>
                      <a:pt x="338698" y="11918"/>
                    </a:cubicBezTo>
                    <a:cubicBezTo>
                      <a:pt x="341148" y="4567"/>
                      <a:pt x="346717" y="780"/>
                      <a:pt x="354291" y="334"/>
                    </a:cubicBezTo>
                    <a:cubicBezTo>
                      <a:pt x="362979" y="-111"/>
                      <a:pt x="371667" y="-111"/>
                      <a:pt x="380355" y="334"/>
                    </a:cubicBezTo>
                    <a:cubicBezTo>
                      <a:pt x="390824" y="1002"/>
                      <a:pt x="397062" y="8354"/>
                      <a:pt x="397062" y="19492"/>
                    </a:cubicBezTo>
                    <a:cubicBezTo>
                      <a:pt x="397284" y="49787"/>
                      <a:pt x="397284" y="79860"/>
                      <a:pt x="397284" y="109933"/>
                    </a:cubicBezTo>
                  </a:path>
                </a:pathLst>
              </a:custGeom>
              <a:grpFill/>
              <a:ln w="2224" cap="flat">
                <a:noFill/>
                <a:prstDash val="solid"/>
                <a:miter/>
              </a:ln>
            </p:spPr>
            <p:txBody>
              <a:bodyPr rtlCol="0" anchor="ctr"/>
              <a:lstStyle/>
              <a:p>
                <a:endParaRPr lang="nl-NL"/>
              </a:p>
            </p:txBody>
          </p:sp>
          <p:sp>
            <p:nvSpPr>
              <p:cNvPr id="5" name="Graphic 13">
                <a:extLst>
                  <a:ext uri="{FF2B5EF4-FFF2-40B4-BE49-F238E27FC236}">
                    <a16:creationId xmlns:a16="http://schemas.microsoft.com/office/drawing/2014/main" id="{BF82BE53-D7D9-4E19-B2D9-B9C96EA5D739}"/>
                  </a:ext>
                </a:extLst>
              </p:cNvPr>
              <p:cNvSpPr/>
              <p:nvPr/>
            </p:nvSpPr>
            <p:spPr>
              <a:xfrm>
                <a:off x="859760" y="1137519"/>
                <a:ext cx="244815" cy="449808"/>
              </a:xfrm>
              <a:custGeom>
                <a:avLst/>
                <a:gdLst>
                  <a:gd name="connsiteX0" fmla="*/ 244816 w 244815"/>
                  <a:gd name="connsiteY0" fmla="*/ 225041 h 449808"/>
                  <a:gd name="connsiteX1" fmla="*/ 244816 w 244815"/>
                  <a:gd name="connsiteY1" fmla="*/ 427977 h 449808"/>
                  <a:gd name="connsiteX2" fmla="*/ 223208 w 244815"/>
                  <a:gd name="connsiteY2" fmla="*/ 449808 h 449808"/>
                  <a:gd name="connsiteX3" fmla="*/ 207615 w 244815"/>
                  <a:gd name="connsiteY3" fmla="*/ 449808 h 449808"/>
                  <a:gd name="connsiteX4" fmla="*/ 184893 w 244815"/>
                  <a:gd name="connsiteY4" fmla="*/ 426864 h 449808"/>
                  <a:gd name="connsiteX5" fmla="*/ 184893 w 244815"/>
                  <a:gd name="connsiteY5" fmla="*/ 309691 h 449808"/>
                  <a:gd name="connsiteX6" fmla="*/ 184893 w 244815"/>
                  <a:gd name="connsiteY6" fmla="*/ 306349 h 449808"/>
                  <a:gd name="connsiteX7" fmla="*/ 176428 w 244815"/>
                  <a:gd name="connsiteY7" fmla="*/ 297884 h 449808"/>
                  <a:gd name="connsiteX8" fmla="*/ 110936 w 244815"/>
                  <a:gd name="connsiteY8" fmla="*/ 297884 h 449808"/>
                  <a:gd name="connsiteX9" fmla="*/ 0 w 244815"/>
                  <a:gd name="connsiteY9" fmla="*/ 186948 h 449808"/>
                  <a:gd name="connsiteX10" fmla="*/ 0 w 244815"/>
                  <a:gd name="connsiteY10" fmla="*/ 110318 h 449808"/>
                  <a:gd name="connsiteX11" fmla="*/ 101134 w 244815"/>
                  <a:gd name="connsiteY11" fmla="*/ 942 h 449808"/>
                  <a:gd name="connsiteX12" fmla="*/ 173309 w 244815"/>
                  <a:gd name="connsiteY12" fmla="*/ 273 h 449808"/>
                  <a:gd name="connsiteX13" fmla="*/ 223876 w 244815"/>
                  <a:gd name="connsiteY13" fmla="*/ 273 h 449808"/>
                  <a:gd name="connsiteX14" fmla="*/ 244816 w 244815"/>
                  <a:gd name="connsiteY14" fmla="*/ 20990 h 449808"/>
                  <a:gd name="connsiteX15" fmla="*/ 244816 w 244815"/>
                  <a:gd name="connsiteY15" fmla="*/ 225041 h 449808"/>
                  <a:gd name="connsiteX16" fmla="*/ 184893 w 244815"/>
                  <a:gd name="connsiteY16" fmla="*/ 148856 h 449808"/>
                  <a:gd name="connsiteX17" fmla="*/ 184893 w 244815"/>
                  <a:gd name="connsiteY17" fmla="*/ 64429 h 449808"/>
                  <a:gd name="connsiteX18" fmla="*/ 177764 w 244815"/>
                  <a:gd name="connsiteY18" fmla="*/ 56410 h 449808"/>
                  <a:gd name="connsiteX19" fmla="*/ 111604 w 244815"/>
                  <a:gd name="connsiteY19" fmla="*/ 56410 h 449808"/>
                  <a:gd name="connsiteX20" fmla="*/ 59923 w 244815"/>
                  <a:gd name="connsiteY20" fmla="*/ 105640 h 449808"/>
                  <a:gd name="connsiteX21" fmla="*/ 59700 w 244815"/>
                  <a:gd name="connsiteY21" fmla="*/ 188285 h 449808"/>
                  <a:gd name="connsiteX22" fmla="*/ 116728 w 244815"/>
                  <a:gd name="connsiteY22" fmla="*/ 240857 h 449808"/>
                  <a:gd name="connsiteX23" fmla="*/ 174423 w 244815"/>
                  <a:gd name="connsiteY23" fmla="*/ 240857 h 449808"/>
                  <a:gd name="connsiteX24" fmla="*/ 184670 w 244815"/>
                  <a:gd name="connsiteY24" fmla="*/ 230833 h 449808"/>
                  <a:gd name="connsiteX25" fmla="*/ 184670 w 244815"/>
                  <a:gd name="connsiteY25" fmla="*/ 148856 h 449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4815" h="449808">
                    <a:moveTo>
                      <a:pt x="244816" y="225041"/>
                    </a:moveTo>
                    <a:lnTo>
                      <a:pt x="244816" y="427977"/>
                    </a:lnTo>
                    <a:cubicBezTo>
                      <a:pt x="244816" y="443125"/>
                      <a:pt x="238356" y="449585"/>
                      <a:pt x="223208" y="449808"/>
                    </a:cubicBezTo>
                    <a:cubicBezTo>
                      <a:pt x="218084" y="449808"/>
                      <a:pt x="212738" y="449808"/>
                      <a:pt x="207615" y="449808"/>
                    </a:cubicBezTo>
                    <a:cubicBezTo>
                      <a:pt x="191130" y="449808"/>
                      <a:pt x="184893" y="443348"/>
                      <a:pt x="184893" y="426864"/>
                    </a:cubicBezTo>
                    <a:cubicBezTo>
                      <a:pt x="184893" y="387880"/>
                      <a:pt x="184893" y="348674"/>
                      <a:pt x="184893" y="309691"/>
                    </a:cubicBezTo>
                    <a:cubicBezTo>
                      <a:pt x="184893" y="308577"/>
                      <a:pt x="184893" y="307463"/>
                      <a:pt x="184893" y="306349"/>
                    </a:cubicBezTo>
                    <a:cubicBezTo>
                      <a:pt x="184893" y="299221"/>
                      <a:pt x="183556" y="297884"/>
                      <a:pt x="176428" y="297884"/>
                    </a:cubicBezTo>
                    <a:cubicBezTo>
                      <a:pt x="154597" y="297884"/>
                      <a:pt x="132766" y="297884"/>
                      <a:pt x="110936" y="297884"/>
                    </a:cubicBezTo>
                    <a:cubicBezTo>
                      <a:pt x="48562" y="297884"/>
                      <a:pt x="0" y="249322"/>
                      <a:pt x="0" y="186948"/>
                    </a:cubicBezTo>
                    <a:cubicBezTo>
                      <a:pt x="0" y="161331"/>
                      <a:pt x="0" y="135713"/>
                      <a:pt x="0" y="110318"/>
                    </a:cubicBezTo>
                    <a:cubicBezTo>
                      <a:pt x="0" y="51732"/>
                      <a:pt x="42770" y="5397"/>
                      <a:pt x="101134" y="942"/>
                    </a:cubicBezTo>
                    <a:cubicBezTo>
                      <a:pt x="125192" y="-840"/>
                      <a:pt x="149251" y="496"/>
                      <a:pt x="173309" y="273"/>
                    </a:cubicBezTo>
                    <a:cubicBezTo>
                      <a:pt x="190239" y="51"/>
                      <a:pt x="206946" y="273"/>
                      <a:pt x="223876" y="273"/>
                    </a:cubicBezTo>
                    <a:cubicBezTo>
                      <a:pt x="237910" y="273"/>
                      <a:pt x="244816" y="7179"/>
                      <a:pt x="244816" y="20990"/>
                    </a:cubicBezTo>
                    <a:cubicBezTo>
                      <a:pt x="244816" y="88710"/>
                      <a:pt x="244816" y="156875"/>
                      <a:pt x="244816" y="225041"/>
                    </a:cubicBezTo>
                    <a:moveTo>
                      <a:pt x="184893" y="148856"/>
                    </a:moveTo>
                    <a:cubicBezTo>
                      <a:pt x="184893" y="120788"/>
                      <a:pt x="184893" y="92497"/>
                      <a:pt x="184893" y="64429"/>
                    </a:cubicBezTo>
                    <a:cubicBezTo>
                      <a:pt x="184893" y="57969"/>
                      <a:pt x="183556" y="56410"/>
                      <a:pt x="177764" y="56410"/>
                    </a:cubicBezTo>
                    <a:cubicBezTo>
                      <a:pt x="155711" y="56410"/>
                      <a:pt x="133658" y="55964"/>
                      <a:pt x="111604" y="56410"/>
                    </a:cubicBezTo>
                    <a:cubicBezTo>
                      <a:pt x="84650" y="57078"/>
                      <a:pt x="61705" y="78686"/>
                      <a:pt x="59923" y="105640"/>
                    </a:cubicBezTo>
                    <a:cubicBezTo>
                      <a:pt x="58141" y="133263"/>
                      <a:pt x="58364" y="160885"/>
                      <a:pt x="59700" y="188285"/>
                    </a:cubicBezTo>
                    <a:cubicBezTo>
                      <a:pt x="61260" y="221922"/>
                      <a:pt x="83090" y="240857"/>
                      <a:pt x="116728" y="240857"/>
                    </a:cubicBezTo>
                    <a:cubicBezTo>
                      <a:pt x="135885" y="240857"/>
                      <a:pt x="155265" y="240857"/>
                      <a:pt x="174423" y="240857"/>
                    </a:cubicBezTo>
                    <a:cubicBezTo>
                      <a:pt x="184002" y="240857"/>
                      <a:pt x="184670" y="240189"/>
                      <a:pt x="184670" y="230833"/>
                    </a:cubicBezTo>
                    <a:lnTo>
                      <a:pt x="184670" y="148856"/>
                    </a:lnTo>
                    <a:close/>
                  </a:path>
                </a:pathLst>
              </a:custGeom>
              <a:grpFill/>
              <a:ln w="2224" cap="flat">
                <a:noFill/>
                <a:prstDash val="solid"/>
                <a:miter/>
              </a:ln>
            </p:spPr>
            <p:txBody>
              <a:bodyPr rtlCol="0" anchor="ctr"/>
              <a:lstStyle/>
              <a:p>
                <a:endParaRPr lang="nl-NL"/>
              </a:p>
            </p:txBody>
          </p:sp>
          <p:sp>
            <p:nvSpPr>
              <p:cNvPr id="6" name="Graphic 13">
                <a:extLst>
                  <a:ext uri="{FF2B5EF4-FFF2-40B4-BE49-F238E27FC236}">
                    <a16:creationId xmlns:a16="http://schemas.microsoft.com/office/drawing/2014/main" id="{E93A169D-5CC1-4C80-80C0-E4FA8A9A19F3}"/>
                  </a:ext>
                </a:extLst>
              </p:cNvPr>
              <p:cNvSpPr/>
              <p:nvPr/>
            </p:nvSpPr>
            <p:spPr>
              <a:xfrm>
                <a:off x="1483718" y="1137124"/>
                <a:ext cx="244815" cy="304629"/>
              </a:xfrm>
              <a:custGeom>
                <a:avLst/>
                <a:gdLst>
                  <a:gd name="connsiteX0" fmla="*/ 244816 w 244815"/>
                  <a:gd name="connsiteY0" fmla="*/ 149028 h 304629"/>
                  <a:gd name="connsiteX1" fmla="*/ 244816 w 244815"/>
                  <a:gd name="connsiteY1" fmla="*/ 275334 h 304629"/>
                  <a:gd name="connsiteX2" fmla="*/ 222317 w 244815"/>
                  <a:gd name="connsiteY2" fmla="*/ 298056 h 304629"/>
                  <a:gd name="connsiteX3" fmla="*/ 205610 w 244815"/>
                  <a:gd name="connsiteY3" fmla="*/ 298056 h 304629"/>
                  <a:gd name="connsiteX4" fmla="*/ 184893 w 244815"/>
                  <a:gd name="connsiteY4" fmla="*/ 279567 h 304629"/>
                  <a:gd name="connsiteX5" fmla="*/ 181997 w 244815"/>
                  <a:gd name="connsiteY5" fmla="*/ 273998 h 304629"/>
                  <a:gd name="connsiteX6" fmla="*/ 176428 w 244815"/>
                  <a:gd name="connsiteY6" fmla="*/ 276448 h 304629"/>
                  <a:gd name="connsiteX7" fmla="*/ 126084 w 244815"/>
                  <a:gd name="connsiteY7" fmla="*/ 302957 h 304629"/>
                  <a:gd name="connsiteX8" fmla="*/ 50344 w 244815"/>
                  <a:gd name="connsiteY8" fmla="*/ 289146 h 304629"/>
                  <a:gd name="connsiteX9" fmla="*/ 2450 w 244815"/>
                  <a:gd name="connsiteY9" fmla="*/ 213406 h 304629"/>
                  <a:gd name="connsiteX10" fmla="*/ 0 w 244815"/>
                  <a:gd name="connsiteY10" fmla="*/ 186452 h 304629"/>
                  <a:gd name="connsiteX11" fmla="*/ 0 w 244815"/>
                  <a:gd name="connsiteY11" fmla="*/ 124747 h 304629"/>
                  <a:gd name="connsiteX12" fmla="*/ 107372 w 244815"/>
                  <a:gd name="connsiteY12" fmla="*/ 1114 h 304629"/>
                  <a:gd name="connsiteX13" fmla="*/ 123410 w 244815"/>
                  <a:gd name="connsiteY13" fmla="*/ 0 h 304629"/>
                  <a:gd name="connsiteX14" fmla="*/ 222317 w 244815"/>
                  <a:gd name="connsiteY14" fmla="*/ 0 h 304629"/>
                  <a:gd name="connsiteX15" fmla="*/ 244816 w 244815"/>
                  <a:gd name="connsiteY15" fmla="*/ 22722 h 304629"/>
                  <a:gd name="connsiteX16" fmla="*/ 244816 w 244815"/>
                  <a:gd name="connsiteY16" fmla="*/ 149028 h 304629"/>
                  <a:gd name="connsiteX17" fmla="*/ 184893 w 244815"/>
                  <a:gd name="connsiteY17" fmla="*/ 122965 h 304629"/>
                  <a:gd name="connsiteX18" fmla="*/ 185116 w 244815"/>
                  <a:gd name="connsiteY18" fmla="*/ 122965 h 304629"/>
                  <a:gd name="connsiteX19" fmla="*/ 185116 w 244815"/>
                  <a:gd name="connsiteY19" fmla="*/ 64601 h 304629"/>
                  <a:gd name="connsiteX20" fmla="*/ 177987 w 244815"/>
                  <a:gd name="connsiteY20" fmla="*/ 56582 h 304629"/>
                  <a:gd name="connsiteX21" fmla="*/ 124079 w 244815"/>
                  <a:gd name="connsiteY21" fmla="*/ 56582 h 304629"/>
                  <a:gd name="connsiteX22" fmla="*/ 60591 w 244815"/>
                  <a:gd name="connsiteY22" fmla="*/ 116505 h 304629"/>
                  <a:gd name="connsiteX23" fmla="*/ 60146 w 244815"/>
                  <a:gd name="connsiteY23" fmla="*/ 196031 h 304629"/>
                  <a:gd name="connsiteX24" fmla="*/ 81531 w 244815"/>
                  <a:gd name="connsiteY24" fmla="*/ 237910 h 304629"/>
                  <a:gd name="connsiteX25" fmla="*/ 134326 w 244815"/>
                  <a:gd name="connsiteY25" fmla="*/ 245930 h 304629"/>
                  <a:gd name="connsiteX26" fmla="*/ 185116 w 244815"/>
                  <a:gd name="connsiteY26" fmla="*/ 181329 h 304629"/>
                  <a:gd name="connsiteX27" fmla="*/ 184893 w 244815"/>
                  <a:gd name="connsiteY27" fmla="*/ 122965 h 30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44815" h="304629">
                    <a:moveTo>
                      <a:pt x="244816" y="149028"/>
                    </a:moveTo>
                    <a:cubicBezTo>
                      <a:pt x="244816" y="191130"/>
                      <a:pt x="244816" y="233232"/>
                      <a:pt x="244816" y="275334"/>
                    </a:cubicBezTo>
                    <a:cubicBezTo>
                      <a:pt x="244816" y="291596"/>
                      <a:pt x="238579" y="298056"/>
                      <a:pt x="222317" y="298056"/>
                    </a:cubicBezTo>
                    <a:cubicBezTo>
                      <a:pt x="216748" y="298056"/>
                      <a:pt x="211179" y="298056"/>
                      <a:pt x="205610" y="298056"/>
                    </a:cubicBezTo>
                    <a:cubicBezTo>
                      <a:pt x="193581" y="298056"/>
                      <a:pt x="186229" y="291596"/>
                      <a:pt x="184893" y="279567"/>
                    </a:cubicBezTo>
                    <a:cubicBezTo>
                      <a:pt x="184670" y="277339"/>
                      <a:pt x="184447" y="275112"/>
                      <a:pt x="181997" y="273998"/>
                    </a:cubicBezTo>
                    <a:cubicBezTo>
                      <a:pt x="179324" y="272884"/>
                      <a:pt x="177764" y="274889"/>
                      <a:pt x="176428" y="276448"/>
                    </a:cubicBezTo>
                    <a:cubicBezTo>
                      <a:pt x="163508" y="292487"/>
                      <a:pt x="145909" y="300061"/>
                      <a:pt x="126084" y="302957"/>
                    </a:cubicBezTo>
                    <a:cubicBezTo>
                      <a:pt x="99352" y="306967"/>
                      <a:pt x="73512" y="304294"/>
                      <a:pt x="50344" y="289146"/>
                    </a:cubicBezTo>
                    <a:cubicBezTo>
                      <a:pt x="22722" y="271325"/>
                      <a:pt x="8910" y="244816"/>
                      <a:pt x="2450" y="213406"/>
                    </a:cubicBezTo>
                    <a:cubicBezTo>
                      <a:pt x="668" y="204496"/>
                      <a:pt x="0" y="195363"/>
                      <a:pt x="0" y="186452"/>
                    </a:cubicBezTo>
                    <a:cubicBezTo>
                      <a:pt x="223" y="165958"/>
                      <a:pt x="0" y="145241"/>
                      <a:pt x="0" y="124747"/>
                    </a:cubicBezTo>
                    <a:cubicBezTo>
                      <a:pt x="0" y="60814"/>
                      <a:pt x="44107" y="10024"/>
                      <a:pt x="107372" y="1114"/>
                    </a:cubicBezTo>
                    <a:cubicBezTo>
                      <a:pt x="112718" y="446"/>
                      <a:pt x="118064" y="0"/>
                      <a:pt x="123410" y="0"/>
                    </a:cubicBezTo>
                    <a:cubicBezTo>
                      <a:pt x="156379" y="0"/>
                      <a:pt x="189348" y="0"/>
                      <a:pt x="222317" y="0"/>
                    </a:cubicBezTo>
                    <a:cubicBezTo>
                      <a:pt x="238356" y="0"/>
                      <a:pt x="244816" y="6460"/>
                      <a:pt x="244816" y="22722"/>
                    </a:cubicBezTo>
                    <a:cubicBezTo>
                      <a:pt x="244816" y="64824"/>
                      <a:pt x="244816" y="106926"/>
                      <a:pt x="244816" y="149028"/>
                    </a:cubicBezTo>
                    <a:moveTo>
                      <a:pt x="184893" y="122965"/>
                    </a:moveTo>
                    <a:lnTo>
                      <a:pt x="185116" y="122965"/>
                    </a:lnTo>
                    <a:cubicBezTo>
                      <a:pt x="185116" y="103585"/>
                      <a:pt x="185116" y="83981"/>
                      <a:pt x="185116" y="64601"/>
                    </a:cubicBezTo>
                    <a:cubicBezTo>
                      <a:pt x="185116" y="58141"/>
                      <a:pt x="183556" y="56582"/>
                      <a:pt x="177987" y="56582"/>
                    </a:cubicBezTo>
                    <a:cubicBezTo>
                      <a:pt x="159943" y="56582"/>
                      <a:pt x="142122" y="56136"/>
                      <a:pt x="124079" y="56582"/>
                    </a:cubicBezTo>
                    <a:cubicBezTo>
                      <a:pt x="90219" y="57473"/>
                      <a:pt x="63042" y="82645"/>
                      <a:pt x="60591" y="116505"/>
                    </a:cubicBezTo>
                    <a:cubicBezTo>
                      <a:pt x="58586" y="143014"/>
                      <a:pt x="59700" y="169522"/>
                      <a:pt x="60146" y="196031"/>
                    </a:cubicBezTo>
                    <a:cubicBezTo>
                      <a:pt x="60591" y="212961"/>
                      <a:pt x="67274" y="227886"/>
                      <a:pt x="81531" y="237910"/>
                    </a:cubicBezTo>
                    <a:cubicBezTo>
                      <a:pt x="97570" y="249494"/>
                      <a:pt x="115836" y="249940"/>
                      <a:pt x="134326" y="245930"/>
                    </a:cubicBezTo>
                    <a:cubicBezTo>
                      <a:pt x="162839" y="239470"/>
                      <a:pt x="184002" y="212293"/>
                      <a:pt x="185116" y="181329"/>
                    </a:cubicBezTo>
                    <a:cubicBezTo>
                      <a:pt x="185338" y="161948"/>
                      <a:pt x="184893" y="142345"/>
                      <a:pt x="184893" y="122965"/>
                    </a:cubicBezTo>
                  </a:path>
                </a:pathLst>
              </a:custGeom>
              <a:grpFill/>
              <a:ln w="2224" cap="flat">
                <a:noFill/>
                <a:prstDash val="solid"/>
                <a:miter/>
              </a:ln>
            </p:spPr>
            <p:txBody>
              <a:bodyPr rtlCol="0" anchor="ctr"/>
              <a:lstStyle/>
              <a:p>
                <a:endParaRPr lang="nl-NL"/>
              </a:p>
            </p:txBody>
          </p:sp>
          <p:sp>
            <p:nvSpPr>
              <p:cNvPr id="7" name="Graphic 13">
                <a:extLst>
                  <a:ext uri="{FF2B5EF4-FFF2-40B4-BE49-F238E27FC236}">
                    <a16:creationId xmlns:a16="http://schemas.microsoft.com/office/drawing/2014/main" id="{50359465-B6D4-4095-B0C7-C985B97B4AC7}"/>
                  </a:ext>
                </a:extLst>
              </p:cNvPr>
              <p:cNvSpPr/>
              <p:nvPr/>
            </p:nvSpPr>
            <p:spPr>
              <a:xfrm>
                <a:off x="2004481" y="1559621"/>
                <a:ext cx="235169" cy="311281"/>
              </a:xfrm>
              <a:custGeom>
                <a:avLst/>
                <a:gdLst>
                  <a:gd name="connsiteX0" fmla="*/ 142178 w 235169"/>
                  <a:gd name="connsiteY0" fmla="*/ 177180 h 311281"/>
                  <a:gd name="connsiteX1" fmla="*/ 69335 w 235169"/>
                  <a:gd name="connsiteY1" fmla="*/ 177180 h 311281"/>
                  <a:gd name="connsiteX2" fmla="*/ 60424 w 235169"/>
                  <a:gd name="connsiteY2" fmla="*/ 186313 h 311281"/>
                  <a:gd name="connsiteX3" fmla="*/ 63098 w 235169"/>
                  <a:gd name="connsiteY3" fmla="*/ 215495 h 311281"/>
                  <a:gd name="connsiteX4" fmla="*/ 117229 w 235169"/>
                  <a:gd name="connsiteY4" fmla="*/ 255146 h 311281"/>
                  <a:gd name="connsiteX5" fmla="*/ 182053 w 235169"/>
                  <a:gd name="connsiteY5" fmla="*/ 229306 h 311281"/>
                  <a:gd name="connsiteX6" fmla="*/ 210343 w 235169"/>
                  <a:gd name="connsiteY6" fmla="*/ 228861 h 311281"/>
                  <a:gd name="connsiteX7" fmla="*/ 221036 w 235169"/>
                  <a:gd name="connsiteY7" fmla="*/ 238439 h 311281"/>
                  <a:gd name="connsiteX8" fmla="*/ 224377 w 235169"/>
                  <a:gd name="connsiteY8" fmla="*/ 264280 h 311281"/>
                  <a:gd name="connsiteX9" fmla="*/ 217249 w 235169"/>
                  <a:gd name="connsiteY9" fmla="*/ 272745 h 311281"/>
                  <a:gd name="connsiteX10" fmla="*/ 130595 w 235169"/>
                  <a:gd name="connsiteY10" fmla="*/ 311060 h 311281"/>
                  <a:gd name="connsiteX11" fmla="*/ 42158 w 235169"/>
                  <a:gd name="connsiteY11" fmla="*/ 285219 h 311281"/>
                  <a:gd name="connsiteX12" fmla="*/ 501 w 235169"/>
                  <a:gd name="connsiteY12" fmla="*/ 198565 h 311281"/>
                  <a:gd name="connsiteX13" fmla="*/ 501 w 235169"/>
                  <a:gd name="connsiteY13" fmla="*/ 114138 h 311281"/>
                  <a:gd name="connsiteX14" fmla="*/ 68444 w 235169"/>
                  <a:gd name="connsiteY14" fmla="*/ 8994 h 311281"/>
                  <a:gd name="connsiteX15" fmla="*/ 211457 w 235169"/>
                  <a:gd name="connsiteY15" fmla="*/ 44191 h 311281"/>
                  <a:gd name="connsiteX16" fmla="*/ 235070 w 235169"/>
                  <a:gd name="connsiteY16" fmla="*/ 113247 h 311281"/>
                  <a:gd name="connsiteX17" fmla="*/ 235070 w 235169"/>
                  <a:gd name="connsiteY17" fmla="*/ 156686 h 311281"/>
                  <a:gd name="connsiteX18" fmla="*/ 214576 w 235169"/>
                  <a:gd name="connsiteY18" fmla="*/ 177180 h 311281"/>
                  <a:gd name="connsiteX19" fmla="*/ 142178 w 235169"/>
                  <a:gd name="connsiteY19" fmla="*/ 177180 h 311281"/>
                  <a:gd name="connsiteX20" fmla="*/ 117674 w 235169"/>
                  <a:gd name="connsiteY20" fmla="*/ 127281 h 311281"/>
                  <a:gd name="connsiteX21" fmla="*/ 168241 w 235169"/>
                  <a:gd name="connsiteY21" fmla="*/ 127281 h 311281"/>
                  <a:gd name="connsiteX22" fmla="*/ 175815 w 235169"/>
                  <a:gd name="connsiteY22" fmla="*/ 119707 h 311281"/>
                  <a:gd name="connsiteX23" fmla="*/ 174701 w 235169"/>
                  <a:gd name="connsiteY23" fmla="*/ 104782 h 311281"/>
                  <a:gd name="connsiteX24" fmla="*/ 138837 w 235169"/>
                  <a:gd name="connsiteY24" fmla="*/ 59784 h 311281"/>
                  <a:gd name="connsiteX25" fmla="*/ 101413 w 235169"/>
                  <a:gd name="connsiteY25" fmla="*/ 58225 h 311281"/>
                  <a:gd name="connsiteX26" fmla="*/ 66662 w 235169"/>
                  <a:gd name="connsiteY26" fmla="*/ 85624 h 311281"/>
                  <a:gd name="connsiteX27" fmla="*/ 60202 w 235169"/>
                  <a:gd name="connsiteY27" fmla="*/ 119707 h 311281"/>
                  <a:gd name="connsiteX28" fmla="*/ 68221 w 235169"/>
                  <a:gd name="connsiteY28" fmla="*/ 127504 h 311281"/>
                  <a:gd name="connsiteX29" fmla="*/ 117674 w 235169"/>
                  <a:gd name="connsiteY29" fmla="*/ 127281 h 31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35169" h="311281">
                    <a:moveTo>
                      <a:pt x="142178" y="177180"/>
                    </a:moveTo>
                    <a:cubicBezTo>
                      <a:pt x="117897" y="177180"/>
                      <a:pt x="93616" y="177180"/>
                      <a:pt x="69335" y="177180"/>
                    </a:cubicBezTo>
                    <a:cubicBezTo>
                      <a:pt x="61761" y="177180"/>
                      <a:pt x="60424" y="178516"/>
                      <a:pt x="60424" y="186313"/>
                    </a:cubicBezTo>
                    <a:cubicBezTo>
                      <a:pt x="60424" y="196114"/>
                      <a:pt x="60202" y="205916"/>
                      <a:pt x="63098" y="215495"/>
                    </a:cubicBezTo>
                    <a:cubicBezTo>
                      <a:pt x="70449" y="240222"/>
                      <a:pt x="90052" y="253810"/>
                      <a:pt x="117229" y="255146"/>
                    </a:cubicBezTo>
                    <a:cubicBezTo>
                      <a:pt x="143069" y="256260"/>
                      <a:pt x="164232" y="247795"/>
                      <a:pt x="182053" y="229306"/>
                    </a:cubicBezTo>
                    <a:cubicBezTo>
                      <a:pt x="191186" y="219727"/>
                      <a:pt x="200542" y="219950"/>
                      <a:pt x="210343" y="228861"/>
                    </a:cubicBezTo>
                    <a:cubicBezTo>
                      <a:pt x="213908" y="231979"/>
                      <a:pt x="217472" y="235321"/>
                      <a:pt x="221036" y="238439"/>
                    </a:cubicBezTo>
                    <a:cubicBezTo>
                      <a:pt x="229278" y="246013"/>
                      <a:pt x="230615" y="254924"/>
                      <a:pt x="224377" y="264280"/>
                    </a:cubicBezTo>
                    <a:cubicBezTo>
                      <a:pt x="222373" y="267398"/>
                      <a:pt x="219922" y="270294"/>
                      <a:pt x="217249" y="272745"/>
                    </a:cubicBezTo>
                    <a:cubicBezTo>
                      <a:pt x="193191" y="296358"/>
                      <a:pt x="164454" y="309501"/>
                      <a:pt x="130595" y="311060"/>
                    </a:cubicBezTo>
                    <a:cubicBezTo>
                      <a:pt x="98071" y="312619"/>
                      <a:pt x="67998" y="306159"/>
                      <a:pt x="42158" y="285219"/>
                    </a:cubicBezTo>
                    <a:cubicBezTo>
                      <a:pt x="14758" y="262943"/>
                      <a:pt x="1392" y="233539"/>
                      <a:pt x="501" y="198565"/>
                    </a:cubicBezTo>
                    <a:cubicBezTo>
                      <a:pt x="-167" y="170497"/>
                      <a:pt x="-167" y="142206"/>
                      <a:pt x="501" y="114138"/>
                    </a:cubicBezTo>
                    <a:cubicBezTo>
                      <a:pt x="1615" y="66689"/>
                      <a:pt x="23891" y="26815"/>
                      <a:pt x="68444" y="8994"/>
                    </a:cubicBezTo>
                    <a:cubicBezTo>
                      <a:pt x="112551" y="-8604"/>
                      <a:pt x="176038" y="-2144"/>
                      <a:pt x="211457" y="44191"/>
                    </a:cubicBezTo>
                    <a:cubicBezTo>
                      <a:pt x="227051" y="64462"/>
                      <a:pt x="234625" y="87852"/>
                      <a:pt x="235070" y="113247"/>
                    </a:cubicBezTo>
                    <a:cubicBezTo>
                      <a:pt x="235293" y="127726"/>
                      <a:pt x="235070" y="142206"/>
                      <a:pt x="235070" y="156686"/>
                    </a:cubicBezTo>
                    <a:cubicBezTo>
                      <a:pt x="235070" y="170274"/>
                      <a:pt x="228164" y="177180"/>
                      <a:pt x="214576" y="177180"/>
                    </a:cubicBezTo>
                    <a:cubicBezTo>
                      <a:pt x="190740" y="177402"/>
                      <a:pt x="166459" y="177180"/>
                      <a:pt x="142178" y="177180"/>
                    </a:cubicBezTo>
                    <a:moveTo>
                      <a:pt x="117674" y="127281"/>
                    </a:moveTo>
                    <a:cubicBezTo>
                      <a:pt x="134604" y="127281"/>
                      <a:pt x="151311" y="127281"/>
                      <a:pt x="168241" y="127281"/>
                    </a:cubicBezTo>
                    <a:cubicBezTo>
                      <a:pt x="174033" y="127281"/>
                      <a:pt x="175593" y="125499"/>
                      <a:pt x="175815" y="119707"/>
                    </a:cubicBezTo>
                    <a:cubicBezTo>
                      <a:pt x="176038" y="114806"/>
                      <a:pt x="175815" y="109683"/>
                      <a:pt x="174701" y="104782"/>
                    </a:cubicBezTo>
                    <a:cubicBezTo>
                      <a:pt x="170469" y="83619"/>
                      <a:pt x="161113" y="66467"/>
                      <a:pt x="138837" y="59784"/>
                    </a:cubicBezTo>
                    <a:cubicBezTo>
                      <a:pt x="126585" y="56220"/>
                      <a:pt x="114110" y="56220"/>
                      <a:pt x="101413" y="58225"/>
                    </a:cubicBezTo>
                    <a:cubicBezTo>
                      <a:pt x="84705" y="60898"/>
                      <a:pt x="73345" y="70031"/>
                      <a:pt x="66662" y="85624"/>
                    </a:cubicBezTo>
                    <a:cubicBezTo>
                      <a:pt x="61984" y="96540"/>
                      <a:pt x="59979" y="107901"/>
                      <a:pt x="60202" y="119707"/>
                    </a:cubicBezTo>
                    <a:cubicBezTo>
                      <a:pt x="60424" y="125944"/>
                      <a:pt x="61761" y="127504"/>
                      <a:pt x="68221" y="127504"/>
                    </a:cubicBezTo>
                    <a:cubicBezTo>
                      <a:pt x="84928" y="127281"/>
                      <a:pt x="101413" y="127281"/>
                      <a:pt x="117674" y="127281"/>
                    </a:cubicBezTo>
                  </a:path>
                </a:pathLst>
              </a:custGeom>
              <a:grpFill/>
              <a:ln w="2224" cap="flat">
                <a:noFill/>
                <a:prstDash val="solid"/>
                <a:miter/>
              </a:ln>
            </p:spPr>
            <p:txBody>
              <a:bodyPr rtlCol="0" anchor="ctr"/>
              <a:lstStyle/>
              <a:p>
                <a:endParaRPr lang="nl-NL"/>
              </a:p>
            </p:txBody>
          </p:sp>
          <p:sp>
            <p:nvSpPr>
              <p:cNvPr id="15" name="Graphic 13">
                <a:extLst>
                  <a:ext uri="{FF2B5EF4-FFF2-40B4-BE49-F238E27FC236}">
                    <a16:creationId xmlns:a16="http://schemas.microsoft.com/office/drawing/2014/main" id="{9B1B07C6-C182-41EB-8D14-C328507B3385}"/>
                  </a:ext>
                </a:extLst>
              </p:cNvPr>
              <p:cNvSpPr/>
              <p:nvPr/>
            </p:nvSpPr>
            <p:spPr>
              <a:xfrm>
                <a:off x="2003393" y="1130406"/>
                <a:ext cx="235998" cy="311136"/>
              </a:xfrm>
              <a:custGeom>
                <a:avLst/>
                <a:gdLst>
                  <a:gd name="connsiteX0" fmla="*/ 143043 w 235998"/>
                  <a:gd name="connsiteY0" fmla="*/ 176908 h 311136"/>
                  <a:gd name="connsiteX1" fmla="*/ 69754 w 235998"/>
                  <a:gd name="connsiteY1" fmla="*/ 176908 h 311136"/>
                  <a:gd name="connsiteX2" fmla="*/ 60398 w 235998"/>
                  <a:gd name="connsiteY2" fmla="*/ 186264 h 311136"/>
                  <a:gd name="connsiteX3" fmla="*/ 62403 w 235998"/>
                  <a:gd name="connsiteY3" fmla="*/ 212773 h 311136"/>
                  <a:gd name="connsiteX4" fmla="*/ 112970 w 235998"/>
                  <a:gd name="connsiteY4" fmla="*/ 254430 h 311136"/>
                  <a:gd name="connsiteX5" fmla="*/ 182027 w 235998"/>
                  <a:gd name="connsiteY5" fmla="*/ 228812 h 311136"/>
                  <a:gd name="connsiteX6" fmla="*/ 209872 w 235998"/>
                  <a:gd name="connsiteY6" fmla="*/ 228144 h 311136"/>
                  <a:gd name="connsiteX7" fmla="*/ 220564 w 235998"/>
                  <a:gd name="connsiteY7" fmla="*/ 237722 h 311136"/>
                  <a:gd name="connsiteX8" fmla="*/ 223683 w 235998"/>
                  <a:gd name="connsiteY8" fmla="*/ 264899 h 311136"/>
                  <a:gd name="connsiteX9" fmla="*/ 200739 w 235998"/>
                  <a:gd name="connsiteY9" fmla="*/ 286507 h 311136"/>
                  <a:gd name="connsiteX10" fmla="*/ 44582 w 235998"/>
                  <a:gd name="connsiteY10" fmla="*/ 286953 h 311136"/>
                  <a:gd name="connsiteX11" fmla="*/ 921 w 235998"/>
                  <a:gd name="connsiteY11" fmla="*/ 201412 h 311136"/>
                  <a:gd name="connsiteX12" fmla="*/ 921 w 235998"/>
                  <a:gd name="connsiteY12" fmla="*/ 109634 h 311136"/>
                  <a:gd name="connsiteX13" fmla="*/ 103837 w 235998"/>
                  <a:gd name="connsiteY13" fmla="*/ 480 h 311136"/>
                  <a:gd name="connsiteX14" fmla="*/ 200293 w 235998"/>
                  <a:gd name="connsiteY14" fmla="*/ 31222 h 311136"/>
                  <a:gd name="connsiteX15" fmla="*/ 234599 w 235998"/>
                  <a:gd name="connsiteY15" fmla="*/ 100278 h 311136"/>
                  <a:gd name="connsiteX16" fmla="*/ 235712 w 235998"/>
                  <a:gd name="connsiteY16" fmla="*/ 158642 h 311136"/>
                  <a:gd name="connsiteX17" fmla="*/ 216555 w 235998"/>
                  <a:gd name="connsiteY17" fmla="*/ 176686 h 311136"/>
                  <a:gd name="connsiteX18" fmla="*/ 143043 w 235998"/>
                  <a:gd name="connsiteY18" fmla="*/ 176908 h 311136"/>
                  <a:gd name="connsiteX19" fmla="*/ 118094 w 235998"/>
                  <a:gd name="connsiteY19" fmla="*/ 127232 h 311136"/>
                  <a:gd name="connsiteX20" fmla="*/ 137474 w 235998"/>
                  <a:gd name="connsiteY20" fmla="*/ 127232 h 311136"/>
                  <a:gd name="connsiteX21" fmla="*/ 167547 w 235998"/>
                  <a:gd name="connsiteY21" fmla="*/ 127232 h 311136"/>
                  <a:gd name="connsiteX22" fmla="*/ 175789 w 235998"/>
                  <a:gd name="connsiteY22" fmla="*/ 118767 h 311136"/>
                  <a:gd name="connsiteX23" fmla="*/ 175567 w 235998"/>
                  <a:gd name="connsiteY23" fmla="*/ 109411 h 311136"/>
                  <a:gd name="connsiteX24" fmla="*/ 134133 w 235998"/>
                  <a:gd name="connsiteY24" fmla="*/ 58176 h 311136"/>
                  <a:gd name="connsiteX25" fmla="*/ 106956 w 235998"/>
                  <a:gd name="connsiteY25" fmla="*/ 57062 h 311136"/>
                  <a:gd name="connsiteX26" fmla="*/ 70868 w 235998"/>
                  <a:gd name="connsiteY26" fmla="*/ 77556 h 311136"/>
                  <a:gd name="connsiteX27" fmla="*/ 60398 w 235998"/>
                  <a:gd name="connsiteY27" fmla="*/ 117208 h 311136"/>
                  <a:gd name="connsiteX28" fmla="*/ 70423 w 235998"/>
                  <a:gd name="connsiteY28" fmla="*/ 127232 h 311136"/>
                  <a:gd name="connsiteX29" fmla="*/ 118094 w 235998"/>
                  <a:gd name="connsiteY29" fmla="*/ 127232 h 31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35998" h="311136">
                    <a:moveTo>
                      <a:pt x="143043" y="176908"/>
                    </a:moveTo>
                    <a:cubicBezTo>
                      <a:pt x="118539" y="176908"/>
                      <a:pt x="94035" y="176908"/>
                      <a:pt x="69754" y="176908"/>
                    </a:cubicBezTo>
                    <a:cubicBezTo>
                      <a:pt x="61735" y="176908"/>
                      <a:pt x="60621" y="178245"/>
                      <a:pt x="60398" y="186264"/>
                    </a:cubicBezTo>
                    <a:cubicBezTo>
                      <a:pt x="60398" y="195175"/>
                      <a:pt x="60176" y="204085"/>
                      <a:pt x="62403" y="212773"/>
                    </a:cubicBezTo>
                    <a:cubicBezTo>
                      <a:pt x="68641" y="237500"/>
                      <a:pt x="87130" y="252425"/>
                      <a:pt x="112970" y="254430"/>
                    </a:cubicBezTo>
                    <a:cubicBezTo>
                      <a:pt x="140147" y="256657"/>
                      <a:pt x="163315" y="248861"/>
                      <a:pt x="182027" y="228812"/>
                    </a:cubicBezTo>
                    <a:cubicBezTo>
                      <a:pt x="190937" y="219456"/>
                      <a:pt x="200293" y="219456"/>
                      <a:pt x="209872" y="228144"/>
                    </a:cubicBezTo>
                    <a:cubicBezTo>
                      <a:pt x="213436" y="231485"/>
                      <a:pt x="217000" y="234604"/>
                      <a:pt x="220564" y="237722"/>
                    </a:cubicBezTo>
                    <a:cubicBezTo>
                      <a:pt x="229475" y="245742"/>
                      <a:pt x="230589" y="254875"/>
                      <a:pt x="223683" y="264899"/>
                    </a:cubicBezTo>
                    <a:cubicBezTo>
                      <a:pt x="217446" y="273587"/>
                      <a:pt x="209204" y="280270"/>
                      <a:pt x="200739" y="286507"/>
                    </a:cubicBezTo>
                    <a:cubicBezTo>
                      <a:pt x="154850" y="321036"/>
                      <a:pt x="83566" y="317471"/>
                      <a:pt x="44582" y="286953"/>
                    </a:cubicBezTo>
                    <a:cubicBezTo>
                      <a:pt x="16960" y="265122"/>
                      <a:pt x="2257" y="236386"/>
                      <a:pt x="921" y="201412"/>
                    </a:cubicBezTo>
                    <a:cubicBezTo>
                      <a:pt x="-193" y="170894"/>
                      <a:pt x="-416" y="140375"/>
                      <a:pt x="921" y="109634"/>
                    </a:cubicBezTo>
                    <a:cubicBezTo>
                      <a:pt x="3594" y="42805"/>
                      <a:pt x="50151" y="4490"/>
                      <a:pt x="103837" y="480"/>
                    </a:cubicBezTo>
                    <a:cubicBezTo>
                      <a:pt x="140147" y="-2193"/>
                      <a:pt x="172893" y="6050"/>
                      <a:pt x="200293" y="31222"/>
                    </a:cubicBezTo>
                    <a:cubicBezTo>
                      <a:pt x="220342" y="49934"/>
                      <a:pt x="231034" y="73324"/>
                      <a:pt x="234599" y="100278"/>
                    </a:cubicBezTo>
                    <a:cubicBezTo>
                      <a:pt x="237049" y="119658"/>
                      <a:pt x="235490" y="139039"/>
                      <a:pt x="235712" y="158642"/>
                    </a:cubicBezTo>
                    <a:cubicBezTo>
                      <a:pt x="235712" y="169557"/>
                      <a:pt x="227916" y="176463"/>
                      <a:pt x="216555" y="176686"/>
                    </a:cubicBezTo>
                    <a:cubicBezTo>
                      <a:pt x="192051" y="176908"/>
                      <a:pt x="167547" y="176908"/>
                      <a:pt x="143043" y="176908"/>
                    </a:cubicBezTo>
                    <a:moveTo>
                      <a:pt x="118094" y="127232"/>
                    </a:moveTo>
                    <a:lnTo>
                      <a:pt x="137474" y="127232"/>
                    </a:lnTo>
                    <a:cubicBezTo>
                      <a:pt x="147498" y="127232"/>
                      <a:pt x="157523" y="127455"/>
                      <a:pt x="167547" y="127232"/>
                    </a:cubicBezTo>
                    <a:cubicBezTo>
                      <a:pt x="174007" y="127010"/>
                      <a:pt x="175567" y="125450"/>
                      <a:pt x="175789" y="118767"/>
                    </a:cubicBezTo>
                    <a:cubicBezTo>
                      <a:pt x="175789" y="115649"/>
                      <a:pt x="175789" y="112530"/>
                      <a:pt x="175567" y="109411"/>
                    </a:cubicBezTo>
                    <a:cubicBezTo>
                      <a:pt x="173339" y="87358"/>
                      <a:pt x="161978" y="63299"/>
                      <a:pt x="134133" y="58176"/>
                    </a:cubicBezTo>
                    <a:cubicBezTo>
                      <a:pt x="125222" y="56394"/>
                      <a:pt x="116089" y="55948"/>
                      <a:pt x="106956" y="57062"/>
                    </a:cubicBezTo>
                    <a:cubicBezTo>
                      <a:pt x="92031" y="58621"/>
                      <a:pt x="79110" y="63968"/>
                      <a:pt x="70868" y="77556"/>
                    </a:cubicBezTo>
                    <a:cubicBezTo>
                      <a:pt x="63517" y="89808"/>
                      <a:pt x="60398" y="103174"/>
                      <a:pt x="60398" y="117208"/>
                    </a:cubicBezTo>
                    <a:cubicBezTo>
                      <a:pt x="60398" y="125896"/>
                      <a:pt x="61512" y="127232"/>
                      <a:pt x="70423" y="127232"/>
                    </a:cubicBezTo>
                    <a:cubicBezTo>
                      <a:pt x="86239" y="127455"/>
                      <a:pt x="102278" y="127232"/>
                      <a:pt x="118094" y="127232"/>
                    </a:cubicBezTo>
                  </a:path>
                </a:pathLst>
              </a:custGeom>
              <a:grpFill/>
              <a:ln w="2224" cap="flat">
                <a:noFill/>
                <a:prstDash val="solid"/>
                <a:miter/>
              </a:ln>
            </p:spPr>
            <p:txBody>
              <a:bodyPr rtlCol="0" anchor="ctr"/>
              <a:lstStyle/>
              <a:p>
                <a:endParaRPr lang="nl-NL"/>
              </a:p>
            </p:txBody>
          </p:sp>
          <p:sp>
            <p:nvSpPr>
              <p:cNvPr id="16" name="Graphic 13">
                <a:extLst>
                  <a:ext uri="{FF2B5EF4-FFF2-40B4-BE49-F238E27FC236}">
                    <a16:creationId xmlns:a16="http://schemas.microsoft.com/office/drawing/2014/main" id="{6419CF44-0E59-4304-8E3C-3F843DB83BCD}"/>
                  </a:ext>
                </a:extLst>
              </p:cNvPr>
              <p:cNvSpPr/>
              <p:nvPr/>
            </p:nvSpPr>
            <p:spPr>
              <a:xfrm>
                <a:off x="1173187" y="1140242"/>
                <a:ext cx="244231" cy="304070"/>
              </a:xfrm>
              <a:custGeom>
                <a:avLst/>
                <a:gdLst>
                  <a:gd name="connsiteX0" fmla="*/ 244148 w 244231"/>
                  <a:gd name="connsiteY0" fmla="*/ 180215 h 304070"/>
                  <a:gd name="connsiteX1" fmla="*/ 244148 w 244231"/>
                  <a:gd name="connsiteY1" fmla="*/ 77299 h 304070"/>
                  <a:gd name="connsiteX2" fmla="*/ 244148 w 244231"/>
                  <a:gd name="connsiteY2" fmla="*/ 55691 h 304070"/>
                  <a:gd name="connsiteX3" fmla="*/ 244148 w 244231"/>
                  <a:gd name="connsiteY3" fmla="*/ 21385 h 304070"/>
                  <a:gd name="connsiteX4" fmla="*/ 244148 w 244231"/>
                  <a:gd name="connsiteY4" fmla="*/ 20494 h 304070"/>
                  <a:gd name="connsiteX5" fmla="*/ 244148 w 244231"/>
                  <a:gd name="connsiteY5" fmla="*/ 20049 h 304070"/>
                  <a:gd name="connsiteX6" fmla="*/ 242143 w 244231"/>
                  <a:gd name="connsiteY6" fmla="*/ 9802 h 304070"/>
                  <a:gd name="connsiteX7" fmla="*/ 242143 w 244231"/>
                  <a:gd name="connsiteY7" fmla="*/ 9802 h 304070"/>
                  <a:gd name="connsiteX8" fmla="*/ 241697 w 244231"/>
                  <a:gd name="connsiteY8" fmla="*/ 8910 h 304070"/>
                  <a:gd name="connsiteX9" fmla="*/ 236128 w 244231"/>
                  <a:gd name="connsiteY9" fmla="*/ 2896 h 304070"/>
                  <a:gd name="connsiteX10" fmla="*/ 236128 w 244231"/>
                  <a:gd name="connsiteY10" fmla="*/ 2896 h 304070"/>
                  <a:gd name="connsiteX11" fmla="*/ 235683 w 244231"/>
                  <a:gd name="connsiteY11" fmla="*/ 2673 h 304070"/>
                  <a:gd name="connsiteX12" fmla="*/ 224099 w 244231"/>
                  <a:gd name="connsiteY12" fmla="*/ 0 h 304070"/>
                  <a:gd name="connsiteX13" fmla="*/ 222985 w 244231"/>
                  <a:gd name="connsiteY13" fmla="*/ 0 h 304070"/>
                  <a:gd name="connsiteX14" fmla="*/ 222762 w 244231"/>
                  <a:gd name="connsiteY14" fmla="*/ 0 h 304070"/>
                  <a:gd name="connsiteX15" fmla="*/ 213406 w 244231"/>
                  <a:gd name="connsiteY15" fmla="*/ 0 h 304070"/>
                  <a:gd name="connsiteX16" fmla="*/ 203828 w 244231"/>
                  <a:gd name="connsiteY16" fmla="*/ 0 h 304070"/>
                  <a:gd name="connsiteX17" fmla="*/ 203605 w 244231"/>
                  <a:gd name="connsiteY17" fmla="*/ 0 h 304070"/>
                  <a:gd name="connsiteX18" fmla="*/ 202937 w 244231"/>
                  <a:gd name="connsiteY18" fmla="*/ 0 h 304070"/>
                  <a:gd name="connsiteX19" fmla="*/ 192467 w 244231"/>
                  <a:gd name="connsiteY19" fmla="*/ 1782 h 304070"/>
                  <a:gd name="connsiteX20" fmla="*/ 192021 w 244231"/>
                  <a:gd name="connsiteY20" fmla="*/ 2005 h 304070"/>
                  <a:gd name="connsiteX21" fmla="*/ 191130 w 244231"/>
                  <a:gd name="connsiteY21" fmla="*/ 2450 h 304070"/>
                  <a:gd name="connsiteX22" fmla="*/ 190016 w 244231"/>
                  <a:gd name="connsiteY22" fmla="*/ 2896 h 304070"/>
                  <a:gd name="connsiteX23" fmla="*/ 190016 w 244231"/>
                  <a:gd name="connsiteY23" fmla="*/ 2896 h 304070"/>
                  <a:gd name="connsiteX24" fmla="*/ 187120 w 244231"/>
                  <a:gd name="connsiteY24" fmla="*/ 5124 h 304070"/>
                  <a:gd name="connsiteX25" fmla="*/ 181774 w 244231"/>
                  <a:gd name="connsiteY25" fmla="*/ 20940 h 304070"/>
                  <a:gd name="connsiteX26" fmla="*/ 181774 w 244231"/>
                  <a:gd name="connsiteY26" fmla="*/ 79749 h 304070"/>
                  <a:gd name="connsiteX27" fmla="*/ 181774 w 244231"/>
                  <a:gd name="connsiteY27" fmla="*/ 187120 h 304070"/>
                  <a:gd name="connsiteX28" fmla="*/ 181106 w 244231"/>
                  <a:gd name="connsiteY28" fmla="*/ 196254 h 304070"/>
                  <a:gd name="connsiteX29" fmla="*/ 180883 w 244231"/>
                  <a:gd name="connsiteY29" fmla="*/ 197145 h 304070"/>
                  <a:gd name="connsiteX30" fmla="*/ 175314 w 244231"/>
                  <a:gd name="connsiteY30" fmla="*/ 215634 h 304070"/>
                  <a:gd name="connsiteX31" fmla="*/ 162171 w 244231"/>
                  <a:gd name="connsiteY31" fmla="*/ 233901 h 304070"/>
                  <a:gd name="connsiteX32" fmla="*/ 149474 w 244231"/>
                  <a:gd name="connsiteY32" fmla="*/ 242588 h 304070"/>
                  <a:gd name="connsiteX33" fmla="*/ 148805 w 244231"/>
                  <a:gd name="connsiteY33" fmla="*/ 242811 h 304070"/>
                  <a:gd name="connsiteX34" fmla="*/ 124079 w 244231"/>
                  <a:gd name="connsiteY34" fmla="*/ 247712 h 304070"/>
                  <a:gd name="connsiteX35" fmla="*/ 122074 w 244231"/>
                  <a:gd name="connsiteY35" fmla="*/ 247712 h 304070"/>
                  <a:gd name="connsiteX36" fmla="*/ 120069 w 244231"/>
                  <a:gd name="connsiteY36" fmla="*/ 247712 h 304070"/>
                  <a:gd name="connsiteX37" fmla="*/ 95342 w 244231"/>
                  <a:gd name="connsiteY37" fmla="*/ 242811 h 304070"/>
                  <a:gd name="connsiteX38" fmla="*/ 94674 w 244231"/>
                  <a:gd name="connsiteY38" fmla="*/ 242588 h 304070"/>
                  <a:gd name="connsiteX39" fmla="*/ 81977 w 244231"/>
                  <a:gd name="connsiteY39" fmla="*/ 233901 h 304070"/>
                  <a:gd name="connsiteX40" fmla="*/ 68834 w 244231"/>
                  <a:gd name="connsiteY40" fmla="*/ 215634 h 304070"/>
                  <a:gd name="connsiteX41" fmla="*/ 63265 w 244231"/>
                  <a:gd name="connsiteY41" fmla="*/ 197145 h 304070"/>
                  <a:gd name="connsiteX42" fmla="*/ 63042 w 244231"/>
                  <a:gd name="connsiteY42" fmla="*/ 196254 h 304070"/>
                  <a:gd name="connsiteX43" fmla="*/ 62373 w 244231"/>
                  <a:gd name="connsiteY43" fmla="*/ 187120 h 304070"/>
                  <a:gd name="connsiteX44" fmla="*/ 62373 w 244231"/>
                  <a:gd name="connsiteY44" fmla="*/ 79749 h 304070"/>
                  <a:gd name="connsiteX45" fmla="*/ 62373 w 244231"/>
                  <a:gd name="connsiteY45" fmla="*/ 20940 h 304070"/>
                  <a:gd name="connsiteX46" fmla="*/ 57027 w 244231"/>
                  <a:gd name="connsiteY46" fmla="*/ 5124 h 304070"/>
                  <a:gd name="connsiteX47" fmla="*/ 54131 w 244231"/>
                  <a:gd name="connsiteY47" fmla="*/ 2896 h 304070"/>
                  <a:gd name="connsiteX48" fmla="*/ 54131 w 244231"/>
                  <a:gd name="connsiteY48" fmla="*/ 2896 h 304070"/>
                  <a:gd name="connsiteX49" fmla="*/ 53018 w 244231"/>
                  <a:gd name="connsiteY49" fmla="*/ 2450 h 304070"/>
                  <a:gd name="connsiteX50" fmla="*/ 52126 w 244231"/>
                  <a:gd name="connsiteY50" fmla="*/ 2005 h 304070"/>
                  <a:gd name="connsiteX51" fmla="*/ 51681 w 244231"/>
                  <a:gd name="connsiteY51" fmla="*/ 1782 h 304070"/>
                  <a:gd name="connsiteX52" fmla="*/ 41211 w 244231"/>
                  <a:gd name="connsiteY52" fmla="*/ 0 h 304070"/>
                  <a:gd name="connsiteX53" fmla="*/ 40543 w 244231"/>
                  <a:gd name="connsiteY53" fmla="*/ 0 h 304070"/>
                  <a:gd name="connsiteX54" fmla="*/ 40320 w 244231"/>
                  <a:gd name="connsiteY54" fmla="*/ 0 h 304070"/>
                  <a:gd name="connsiteX55" fmla="*/ 30741 w 244231"/>
                  <a:gd name="connsiteY55" fmla="*/ 0 h 304070"/>
                  <a:gd name="connsiteX56" fmla="*/ 21385 w 244231"/>
                  <a:gd name="connsiteY56" fmla="*/ 0 h 304070"/>
                  <a:gd name="connsiteX57" fmla="*/ 21162 w 244231"/>
                  <a:gd name="connsiteY57" fmla="*/ 0 h 304070"/>
                  <a:gd name="connsiteX58" fmla="*/ 20049 w 244231"/>
                  <a:gd name="connsiteY58" fmla="*/ 0 h 304070"/>
                  <a:gd name="connsiteX59" fmla="*/ 8465 w 244231"/>
                  <a:gd name="connsiteY59" fmla="*/ 2673 h 304070"/>
                  <a:gd name="connsiteX60" fmla="*/ 8019 w 244231"/>
                  <a:gd name="connsiteY60" fmla="*/ 2896 h 304070"/>
                  <a:gd name="connsiteX61" fmla="*/ 8019 w 244231"/>
                  <a:gd name="connsiteY61" fmla="*/ 2896 h 304070"/>
                  <a:gd name="connsiteX62" fmla="*/ 2450 w 244231"/>
                  <a:gd name="connsiteY62" fmla="*/ 8910 h 304070"/>
                  <a:gd name="connsiteX63" fmla="*/ 2005 w 244231"/>
                  <a:gd name="connsiteY63" fmla="*/ 9802 h 304070"/>
                  <a:gd name="connsiteX64" fmla="*/ 2005 w 244231"/>
                  <a:gd name="connsiteY64" fmla="*/ 9802 h 304070"/>
                  <a:gd name="connsiteX65" fmla="*/ 0 w 244231"/>
                  <a:gd name="connsiteY65" fmla="*/ 20049 h 304070"/>
                  <a:gd name="connsiteX66" fmla="*/ 0 w 244231"/>
                  <a:gd name="connsiteY66" fmla="*/ 20494 h 304070"/>
                  <a:gd name="connsiteX67" fmla="*/ 0 w 244231"/>
                  <a:gd name="connsiteY67" fmla="*/ 21385 h 304070"/>
                  <a:gd name="connsiteX68" fmla="*/ 0 w 244231"/>
                  <a:gd name="connsiteY68" fmla="*/ 55691 h 304070"/>
                  <a:gd name="connsiteX69" fmla="*/ 0 w 244231"/>
                  <a:gd name="connsiteY69" fmla="*/ 77299 h 304070"/>
                  <a:gd name="connsiteX70" fmla="*/ 0 w 244231"/>
                  <a:gd name="connsiteY70" fmla="*/ 180215 h 304070"/>
                  <a:gd name="connsiteX71" fmla="*/ 668 w 244231"/>
                  <a:gd name="connsiteY71" fmla="*/ 198481 h 304070"/>
                  <a:gd name="connsiteX72" fmla="*/ 2228 w 244231"/>
                  <a:gd name="connsiteY72" fmla="*/ 208728 h 304070"/>
                  <a:gd name="connsiteX73" fmla="*/ 100911 w 244231"/>
                  <a:gd name="connsiteY73" fmla="*/ 302734 h 304070"/>
                  <a:gd name="connsiteX74" fmla="*/ 102025 w 244231"/>
                  <a:gd name="connsiteY74" fmla="*/ 302957 h 304070"/>
                  <a:gd name="connsiteX75" fmla="*/ 104030 w 244231"/>
                  <a:gd name="connsiteY75" fmla="*/ 303180 h 304070"/>
                  <a:gd name="connsiteX76" fmla="*/ 104698 w 244231"/>
                  <a:gd name="connsiteY76" fmla="*/ 303180 h 304070"/>
                  <a:gd name="connsiteX77" fmla="*/ 117619 w 244231"/>
                  <a:gd name="connsiteY77" fmla="*/ 304071 h 304070"/>
                  <a:gd name="connsiteX78" fmla="*/ 120292 w 244231"/>
                  <a:gd name="connsiteY78" fmla="*/ 304071 h 304070"/>
                  <a:gd name="connsiteX79" fmla="*/ 120960 w 244231"/>
                  <a:gd name="connsiteY79" fmla="*/ 304071 h 304070"/>
                  <a:gd name="connsiteX80" fmla="*/ 122074 w 244231"/>
                  <a:gd name="connsiteY80" fmla="*/ 304071 h 304070"/>
                  <a:gd name="connsiteX81" fmla="*/ 123188 w 244231"/>
                  <a:gd name="connsiteY81" fmla="*/ 304071 h 304070"/>
                  <a:gd name="connsiteX82" fmla="*/ 123856 w 244231"/>
                  <a:gd name="connsiteY82" fmla="*/ 304071 h 304070"/>
                  <a:gd name="connsiteX83" fmla="*/ 126529 w 244231"/>
                  <a:gd name="connsiteY83" fmla="*/ 304071 h 304070"/>
                  <a:gd name="connsiteX84" fmla="*/ 139449 w 244231"/>
                  <a:gd name="connsiteY84" fmla="*/ 303180 h 304070"/>
                  <a:gd name="connsiteX85" fmla="*/ 140118 w 244231"/>
                  <a:gd name="connsiteY85" fmla="*/ 303180 h 304070"/>
                  <a:gd name="connsiteX86" fmla="*/ 142122 w 244231"/>
                  <a:gd name="connsiteY86" fmla="*/ 302957 h 304070"/>
                  <a:gd name="connsiteX87" fmla="*/ 143236 w 244231"/>
                  <a:gd name="connsiteY87" fmla="*/ 302734 h 304070"/>
                  <a:gd name="connsiteX88" fmla="*/ 241920 w 244231"/>
                  <a:gd name="connsiteY88" fmla="*/ 208728 h 304070"/>
                  <a:gd name="connsiteX89" fmla="*/ 243479 w 244231"/>
                  <a:gd name="connsiteY89" fmla="*/ 198481 h 304070"/>
                  <a:gd name="connsiteX90" fmla="*/ 244148 w 244231"/>
                  <a:gd name="connsiteY90" fmla="*/ 180215 h 30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44231" h="304070">
                    <a:moveTo>
                      <a:pt x="244148" y="180215"/>
                    </a:moveTo>
                    <a:cubicBezTo>
                      <a:pt x="244148" y="145909"/>
                      <a:pt x="244148" y="111604"/>
                      <a:pt x="244148" y="77299"/>
                    </a:cubicBezTo>
                    <a:cubicBezTo>
                      <a:pt x="244148" y="70170"/>
                      <a:pt x="244148" y="62819"/>
                      <a:pt x="244148" y="55691"/>
                    </a:cubicBezTo>
                    <a:cubicBezTo>
                      <a:pt x="244148" y="44330"/>
                      <a:pt x="244148" y="32746"/>
                      <a:pt x="244148" y="21385"/>
                    </a:cubicBezTo>
                    <a:cubicBezTo>
                      <a:pt x="244148" y="21162"/>
                      <a:pt x="244148" y="20717"/>
                      <a:pt x="244148" y="20494"/>
                    </a:cubicBezTo>
                    <a:cubicBezTo>
                      <a:pt x="244148" y="20271"/>
                      <a:pt x="244148" y="20049"/>
                      <a:pt x="244148" y="20049"/>
                    </a:cubicBezTo>
                    <a:cubicBezTo>
                      <a:pt x="244148" y="16039"/>
                      <a:pt x="243479" y="12475"/>
                      <a:pt x="242143" y="9802"/>
                    </a:cubicBezTo>
                    <a:cubicBezTo>
                      <a:pt x="242143" y="9802"/>
                      <a:pt x="242143" y="9802"/>
                      <a:pt x="242143" y="9802"/>
                    </a:cubicBezTo>
                    <a:cubicBezTo>
                      <a:pt x="241920" y="9579"/>
                      <a:pt x="241920" y="9133"/>
                      <a:pt x="241697" y="8910"/>
                    </a:cubicBezTo>
                    <a:cubicBezTo>
                      <a:pt x="240361" y="6237"/>
                      <a:pt x="238579" y="4233"/>
                      <a:pt x="236128" y="2896"/>
                    </a:cubicBezTo>
                    <a:cubicBezTo>
                      <a:pt x="236128" y="2896"/>
                      <a:pt x="236128" y="2896"/>
                      <a:pt x="236128" y="2896"/>
                    </a:cubicBezTo>
                    <a:cubicBezTo>
                      <a:pt x="235905" y="2896"/>
                      <a:pt x="235905" y="2673"/>
                      <a:pt x="235683" y="2673"/>
                    </a:cubicBezTo>
                    <a:cubicBezTo>
                      <a:pt x="232564" y="891"/>
                      <a:pt x="228777" y="0"/>
                      <a:pt x="224099" y="0"/>
                    </a:cubicBezTo>
                    <a:lnTo>
                      <a:pt x="222985" y="0"/>
                    </a:lnTo>
                    <a:cubicBezTo>
                      <a:pt x="222985" y="0"/>
                      <a:pt x="222762" y="0"/>
                      <a:pt x="222762" y="0"/>
                    </a:cubicBezTo>
                    <a:lnTo>
                      <a:pt x="213406" y="0"/>
                    </a:lnTo>
                    <a:lnTo>
                      <a:pt x="203828" y="0"/>
                    </a:lnTo>
                    <a:cubicBezTo>
                      <a:pt x="203828" y="0"/>
                      <a:pt x="203605" y="0"/>
                      <a:pt x="203605" y="0"/>
                    </a:cubicBezTo>
                    <a:lnTo>
                      <a:pt x="202937" y="0"/>
                    </a:lnTo>
                    <a:cubicBezTo>
                      <a:pt x="198927" y="0"/>
                      <a:pt x="195363" y="668"/>
                      <a:pt x="192467" y="1782"/>
                    </a:cubicBezTo>
                    <a:cubicBezTo>
                      <a:pt x="192244" y="1782"/>
                      <a:pt x="192244" y="1782"/>
                      <a:pt x="192021" y="2005"/>
                    </a:cubicBezTo>
                    <a:cubicBezTo>
                      <a:pt x="191798" y="2228"/>
                      <a:pt x="191576" y="2228"/>
                      <a:pt x="191130" y="2450"/>
                    </a:cubicBezTo>
                    <a:cubicBezTo>
                      <a:pt x="190685" y="2673"/>
                      <a:pt x="190462" y="2896"/>
                      <a:pt x="190016" y="2896"/>
                    </a:cubicBezTo>
                    <a:cubicBezTo>
                      <a:pt x="190016" y="2896"/>
                      <a:pt x="190016" y="2896"/>
                      <a:pt x="190016" y="2896"/>
                    </a:cubicBezTo>
                    <a:cubicBezTo>
                      <a:pt x="188903" y="3564"/>
                      <a:pt x="188012" y="4233"/>
                      <a:pt x="187120" y="5124"/>
                    </a:cubicBezTo>
                    <a:cubicBezTo>
                      <a:pt x="183556" y="8688"/>
                      <a:pt x="181774" y="13811"/>
                      <a:pt x="181774" y="20940"/>
                    </a:cubicBezTo>
                    <a:cubicBezTo>
                      <a:pt x="181774" y="40543"/>
                      <a:pt x="181774" y="60146"/>
                      <a:pt x="181774" y="79749"/>
                    </a:cubicBezTo>
                    <a:cubicBezTo>
                      <a:pt x="181774" y="115614"/>
                      <a:pt x="181997" y="151256"/>
                      <a:pt x="181774" y="187120"/>
                    </a:cubicBezTo>
                    <a:cubicBezTo>
                      <a:pt x="181774" y="190239"/>
                      <a:pt x="181551" y="193358"/>
                      <a:pt x="181106" y="196254"/>
                    </a:cubicBezTo>
                    <a:cubicBezTo>
                      <a:pt x="181106" y="196477"/>
                      <a:pt x="181106" y="196922"/>
                      <a:pt x="180883" y="197145"/>
                    </a:cubicBezTo>
                    <a:cubicBezTo>
                      <a:pt x="179547" y="203605"/>
                      <a:pt x="177987" y="209842"/>
                      <a:pt x="175314" y="215634"/>
                    </a:cubicBezTo>
                    <a:cubicBezTo>
                      <a:pt x="172195" y="222317"/>
                      <a:pt x="167740" y="228332"/>
                      <a:pt x="162171" y="233901"/>
                    </a:cubicBezTo>
                    <a:cubicBezTo>
                      <a:pt x="158384" y="237688"/>
                      <a:pt x="153929" y="240361"/>
                      <a:pt x="149474" y="242588"/>
                    </a:cubicBezTo>
                    <a:cubicBezTo>
                      <a:pt x="149251" y="242588"/>
                      <a:pt x="149028" y="242811"/>
                      <a:pt x="148805" y="242811"/>
                    </a:cubicBezTo>
                    <a:cubicBezTo>
                      <a:pt x="141231" y="246153"/>
                      <a:pt x="132766" y="247489"/>
                      <a:pt x="124079" y="247712"/>
                    </a:cubicBezTo>
                    <a:cubicBezTo>
                      <a:pt x="123410" y="247712"/>
                      <a:pt x="122742" y="247712"/>
                      <a:pt x="122074" y="247712"/>
                    </a:cubicBezTo>
                    <a:cubicBezTo>
                      <a:pt x="121406" y="247712"/>
                      <a:pt x="120737" y="247712"/>
                      <a:pt x="120069" y="247712"/>
                    </a:cubicBezTo>
                    <a:cubicBezTo>
                      <a:pt x="111381" y="247489"/>
                      <a:pt x="102916" y="246153"/>
                      <a:pt x="95342" y="242811"/>
                    </a:cubicBezTo>
                    <a:cubicBezTo>
                      <a:pt x="95120" y="242811"/>
                      <a:pt x="94897" y="242588"/>
                      <a:pt x="94674" y="242588"/>
                    </a:cubicBezTo>
                    <a:cubicBezTo>
                      <a:pt x="89996" y="240583"/>
                      <a:pt x="85764" y="237688"/>
                      <a:pt x="81977" y="233901"/>
                    </a:cubicBezTo>
                    <a:cubicBezTo>
                      <a:pt x="76408" y="228332"/>
                      <a:pt x="71952" y="222317"/>
                      <a:pt x="68834" y="215634"/>
                    </a:cubicBezTo>
                    <a:cubicBezTo>
                      <a:pt x="66383" y="209842"/>
                      <a:pt x="64601" y="203605"/>
                      <a:pt x="63265" y="197145"/>
                    </a:cubicBezTo>
                    <a:cubicBezTo>
                      <a:pt x="63265" y="196922"/>
                      <a:pt x="63265" y="196477"/>
                      <a:pt x="63042" y="196254"/>
                    </a:cubicBezTo>
                    <a:cubicBezTo>
                      <a:pt x="62596" y="193358"/>
                      <a:pt x="62373" y="190239"/>
                      <a:pt x="62373" y="187120"/>
                    </a:cubicBezTo>
                    <a:cubicBezTo>
                      <a:pt x="62151" y="151256"/>
                      <a:pt x="62373" y="115614"/>
                      <a:pt x="62373" y="79749"/>
                    </a:cubicBezTo>
                    <a:cubicBezTo>
                      <a:pt x="62373" y="60146"/>
                      <a:pt x="62373" y="40543"/>
                      <a:pt x="62373" y="20940"/>
                    </a:cubicBezTo>
                    <a:cubicBezTo>
                      <a:pt x="62373" y="14034"/>
                      <a:pt x="60591" y="8688"/>
                      <a:pt x="57027" y="5124"/>
                    </a:cubicBezTo>
                    <a:cubicBezTo>
                      <a:pt x="56136" y="4233"/>
                      <a:pt x="55245" y="3564"/>
                      <a:pt x="54131" y="2896"/>
                    </a:cubicBezTo>
                    <a:cubicBezTo>
                      <a:pt x="54131" y="2896"/>
                      <a:pt x="54131" y="2896"/>
                      <a:pt x="54131" y="2896"/>
                    </a:cubicBezTo>
                    <a:cubicBezTo>
                      <a:pt x="53909" y="2673"/>
                      <a:pt x="53463" y="2450"/>
                      <a:pt x="53018" y="2450"/>
                    </a:cubicBezTo>
                    <a:cubicBezTo>
                      <a:pt x="52795" y="2228"/>
                      <a:pt x="52572" y="2228"/>
                      <a:pt x="52126" y="2005"/>
                    </a:cubicBezTo>
                    <a:cubicBezTo>
                      <a:pt x="52126" y="2005"/>
                      <a:pt x="51904" y="2005"/>
                      <a:pt x="51681" y="1782"/>
                    </a:cubicBezTo>
                    <a:cubicBezTo>
                      <a:pt x="48785" y="446"/>
                      <a:pt x="45221" y="0"/>
                      <a:pt x="41211" y="0"/>
                    </a:cubicBezTo>
                    <a:lnTo>
                      <a:pt x="40543" y="0"/>
                    </a:lnTo>
                    <a:cubicBezTo>
                      <a:pt x="40543" y="0"/>
                      <a:pt x="40320" y="0"/>
                      <a:pt x="40320" y="0"/>
                    </a:cubicBezTo>
                    <a:lnTo>
                      <a:pt x="30741" y="0"/>
                    </a:lnTo>
                    <a:lnTo>
                      <a:pt x="21385" y="0"/>
                    </a:lnTo>
                    <a:cubicBezTo>
                      <a:pt x="21385" y="0"/>
                      <a:pt x="21162" y="0"/>
                      <a:pt x="21162" y="0"/>
                    </a:cubicBezTo>
                    <a:lnTo>
                      <a:pt x="20049" y="0"/>
                    </a:lnTo>
                    <a:cubicBezTo>
                      <a:pt x="15371" y="0"/>
                      <a:pt x="11361" y="891"/>
                      <a:pt x="8465" y="2673"/>
                    </a:cubicBezTo>
                    <a:cubicBezTo>
                      <a:pt x="8242" y="2673"/>
                      <a:pt x="8242" y="2896"/>
                      <a:pt x="8019" y="2896"/>
                    </a:cubicBezTo>
                    <a:cubicBezTo>
                      <a:pt x="8019" y="2896"/>
                      <a:pt x="8019" y="2896"/>
                      <a:pt x="8019" y="2896"/>
                    </a:cubicBezTo>
                    <a:cubicBezTo>
                      <a:pt x="5569" y="4455"/>
                      <a:pt x="3787" y="6460"/>
                      <a:pt x="2450" y="8910"/>
                    </a:cubicBezTo>
                    <a:cubicBezTo>
                      <a:pt x="2228" y="9133"/>
                      <a:pt x="2228" y="9579"/>
                      <a:pt x="2005" y="9802"/>
                    </a:cubicBezTo>
                    <a:cubicBezTo>
                      <a:pt x="2005" y="9802"/>
                      <a:pt x="2005" y="9802"/>
                      <a:pt x="2005" y="9802"/>
                    </a:cubicBezTo>
                    <a:cubicBezTo>
                      <a:pt x="668" y="12697"/>
                      <a:pt x="0" y="16039"/>
                      <a:pt x="0" y="20049"/>
                    </a:cubicBezTo>
                    <a:cubicBezTo>
                      <a:pt x="0" y="20271"/>
                      <a:pt x="0" y="20494"/>
                      <a:pt x="0" y="20494"/>
                    </a:cubicBezTo>
                    <a:cubicBezTo>
                      <a:pt x="0" y="20717"/>
                      <a:pt x="0" y="20940"/>
                      <a:pt x="0" y="21385"/>
                    </a:cubicBezTo>
                    <a:cubicBezTo>
                      <a:pt x="0" y="32746"/>
                      <a:pt x="0" y="44330"/>
                      <a:pt x="0" y="55691"/>
                    </a:cubicBezTo>
                    <a:cubicBezTo>
                      <a:pt x="0" y="62819"/>
                      <a:pt x="0" y="70170"/>
                      <a:pt x="0" y="77299"/>
                    </a:cubicBezTo>
                    <a:cubicBezTo>
                      <a:pt x="0" y="111604"/>
                      <a:pt x="0" y="145909"/>
                      <a:pt x="0" y="180215"/>
                    </a:cubicBezTo>
                    <a:cubicBezTo>
                      <a:pt x="0" y="186229"/>
                      <a:pt x="0" y="192467"/>
                      <a:pt x="668" y="198481"/>
                    </a:cubicBezTo>
                    <a:cubicBezTo>
                      <a:pt x="1114" y="202046"/>
                      <a:pt x="1559" y="205387"/>
                      <a:pt x="2228" y="208728"/>
                    </a:cubicBezTo>
                    <a:cubicBezTo>
                      <a:pt x="11138" y="259741"/>
                      <a:pt x="50790" y="296051"/>
                      <a:pt x="100911" y="302734"/>
                    </a:cubicBezTo>
                    <a:cubicBezTo>
                      <a:pt x="101357" y="302734"/>
                      <a:pt x="101580" y="302734"/>
                      <a:pt x="102025" y="302957"/>
                    </a:cubicBezTo>
                    <a:cubicBezTo>
                      <a:pt x="102694" y="302957"/>
                      <a:pt x="103362" y="303180"/>
                      <a:pt x="104030" y="303180"/>
                    </a:cubicBezTo>
                    <a:cubicBezTo>
                      <a:pt x="104253" y="303180"/>
                      <a:pt x="104476" y="303180"/>
                      <a:pt x="104698" y="303180"/>
                    </a:cubicBezTo>
                    <a:cubicBezTo>
                      <a:pt x="108931" y="303625"/>
                      <a:pt x="113163" y="303848"/>
                      <a:pt x="117619" y="304071"/>
                    </a:cubicBezTo>
                    <a:cubicBezTo>
                      <a:pt x="118510" y="304071"/>
                      <a:pt x="119401" y="304071"/>
                      <a:pt x="120292" y="304071"/>
                    </a:cubicBezTo>
                    <a:cubicBezTo>
                      <a:pt x="120515" y="304071"/>
                      <a:pt x="120737" y="304071"/>
                      <a:pt x="120960" y="304071"/>
                    </a:cubicBezTo>
                    <a:cubicBezTo>
                      <a:pt x="121406" y="304071"/>
                      <a:pt x="121628" y="304071"/>
                      <a:pt x="122074" y="304071"/>
                    </a:cubicBezTo>
                    <a:cubicBezTo>
                      <a:pt x="122519" y="304071"/>
                      <a:pt x="122742" y="304071"/>
                      <a:pt x="123188" y="304071"/>
                    </a:cubicBezTo>
                    <a:cubicBezTo>
                      <a:pt x="123410" y="304071"/>
                      <a:pt x="123633" y="304071"/>
                      <a:pt x="123856" y="304071"/>
                    </a:cubicBezTo>
                    <a:cubicBezTo>
                      <a:pt x="124747" y="304071"/>
                      <a:pt x="125638" y="304071"/>
                      <a:pt x="126529" y="304071"/>
                    </a:cubicBezTo>
                    <a:cubicBezTo>
                      <a:pt x="130984" y="304071"/>
                      <a:pt x="135217" y="303625"/>
                      <a:pt x="139449" y="303180"/>
                    </a:cubicBezTo>
                    <a:cubicBezTo>
                      <a:pt x="139672" y="303180"/>
                      <a:pt x="139895" y="303180"/>
                      <a:pt x="140118" y="303180"/>
                    </a:cubicBezTo>
                    <a:cubicBezTo>
                      <a:pt x="140786" y="303180"/>
                      <a:pt x="141454" y="302957"/>
                      <a:pt x="142122" y="302957"/>
                    </a:cubicBezTo>
                    <a:cubicBezTo>
                      <a:pt x="142568" y="302957"/>
                      <a:pt x="143014" y="302957"/>
                      <a:pt x="143236" y="302734"/>
                    </a:cubicBezTo>
                    <a:cubicBezTo>
                      <a:pt x="193358" y="296051"/>
                      <a:pt x="233010" y="259741"/>
                      <a:pt x="241920" y="208728"/>
                    </a:cubicBezTo>
                    <a:cubicBezTo>
                      <a:pt x="242588" y="205387"/>
                      <a:pt x="243034" y="202046"/>
                      <a:pt x="243479" y="198481"/>
                    </a:cubicBezTo>
                    <a:cubicBezTo>
                      <a:pt x="244148" y="192467"/>
                      <a:pt x="244370" y="186229"/>
                      <a:pt x="244148" y="180215"/>
                    </a:cubicBezTo>
                    <a:close/>
                  </a:path>
                </a:pathLst>
              </a:custGeom>
              <a:grpFill/>
              <a:ln w="2224" cap="flat">
                <a:noFill/>
                <a:prstDash val="solid"/>
                <a:miter/>
              </a:ln>
            </p:spPr>
            <p:txBody>
              <a:bodyPr rtlCol="0" anchor="ctr"/>
              <a:lstStyle/>
              <a:p>
                <a:endParaRPr lang="nl-NL"/>
              </a:p>
            </p:txBody>
          </p:sp>
          <p:sp>
            <p:nvSpPr>
              <p:cNvPr id="17" name="Graphic 13">
                <a:extLst>
                  <a:ext uri="{FF2B5EF4-FFF2-40B4-BE49-F238E27FC236}">
                    <a16:creationId xmlns:a16="http://schemas.microsoft.com/office/drawing/2014/main" id="{5BC1090B-98CB-44EA-B39C-77A40B4F4D39}"/>
                  </a:ext>
                </a:extLst>
              </p:cNvPr>
              <p:cNvSpPr/>
              <p:nvPr/>
            </p:nvSpPr>
            <p:spPr>
              <a:xfrm>
                <a:off x="610655" y="1130302"/>
                <a:ext cx="188725" cy="311338"/>
              </a:xfrm>
              <a:custGeom>
                <a:avLst/>
                <a:gdLst>
                  <a:gd name="connsiteX0" fmla="*/ 87157 w 188725"/>
                  <a:gd name="connsiteY0" fmla="*/ 311338 h 311338"/>
                  <a:gd name="connsiteX1" fmla="*/ 26788 w 188725"/>
                  <a:gd name="connsiteY1" fmla="*/ 297750 h 311338"/>
                  <a:gd name="connsiteX2" fmla="*/ 5403 w 188725"/>
                  <a:gd name="connsiteY2" fmla="*/ 280374 h 311338"/>
                  <a:gd name="connsiteX3" fmla="*/ 5626 w 188725"/>
                  <a:gd name="connsiteY3" fmla="*/ 252752 h 311338"/>
                  <a:gd name="connsiteX4" fmla="*/ 16987 w 188725"/>
                  <a:gd name="connsiteY4" fmla="*/ 238940 h 311338"/>
                  <a:gd name="connsiteX5" fmla="*/ 40822 w 188725"/>
                  <a:gd name="connsiteY5" fmla="*/ 235822 h 311338"/>
                  <a:gd name="connsiteX6" fmla="*/ 59757 w 188725"/>
                  <a:gd name="connsiteY6" fmla="*/ 248519 h 311338"/>
                  <a:gd name="connsiteX7" fmla="*/ 112329 w 188725"/>
                  <a:gd name="connsiteY7" fmla="*/ 249410 h 311338"/>
                  <a:gd name="connsiteX8" fmla="*/ 117453 w 188725"/>
                  <a:gd name="connsiteY8" fmla="*/ 203298 h 311338"/>
                  <a:gd name="connsiteX9" fmla="*/ 82925 w 188725"/>
                  <a:gd name="connsiteY9" fmla="*/ 182359 h 311338"/>
                  <a:gd name="connsiteX10" fmla="*/ 35031 w 188725"/>
                  <a:gd name="connsiteY10" fmla="*/ 152731 h 311338"/>
                  <a:gd name="connsiteX11" fmla="*/ 8076 w 188725"/>
                  <a:gd name="connsiteY11" fmla="*/ 65408 h 311338"/>
                  <a:gd name="connsiteX12" fmla="*/ 72009 w 188725"/>
                  <a:gd name="connsiteY12" fmla="*/ 3703 h 311338"/>
                  <a:gd name="connsiteX13" fmla="*/ 168243 w 188725"/>
                  <a:gd name="connsiteY13" fmla="*/ 22861 h 311338"/>
                  <a:gd name="connsiteX14" fmla="*/ 181386 w 188725"/>
                  <a:gd name="connsiteY14" fmla="*/ 39568 h 311338"/>
                  <a:gd name="connsiteX15" fmla="*/ 177376 w 188725"/>
                  <a:gd name="connsiteY15" fmla="*/ 57166 h 311338"/>
                  <a:gd name="connsiteX16" fmla="*/ 163119 w 188725"/>
                  <a:gd name="connsiteY16" fmla="*/ 72091 h 311338"/>
                  <a:gd name="connsiteX17" fmla="*/ 138170 w 188725"/>
                  <a:gd name="connsiteY17" fmla="*/ 72537 h 311338"/>
                  <a:gd name="connsiteX18" fmla="*/ 83147 w 188725"/>
                  <a:gd name="connsiteY18" fmla="*/ 59171 h 311338"/>
                  <a:gd name="connsiteX19" fmla="*/ 63544 w 188725"/>
                  <a:gd name="connsiteY19" fmla="*/ 80556 h 311338"/>
                  <a:gd name="connsiteX20" fmla="*/ 73123 w 188725"/>
                  <a:gd name="connsiteY20" fmla="*/ 108402 h 311338"/>
                  <a:gd name="connsiteX21" fmla="*/ 109656 w 188725"/>
                  <a:gd name="connsiteY21" fmla="*/ 129118 h 311338"/>
                  <a:gd name="connsiteX22" fmla="*/ 160669 w 188725"/>
                  <a:gd name="connsiteY22" fmla="*/ 160082 h 311338"/>
                  <a:gd name="connsiteX23" fmla="*/ 141957 w 188725"/>
                  <a:gd name="connsiteY23" fmla="*/ 298641 h 311338"/>
                  <a:gd name="connsiteX24" fmla="*/ 87157 w 188725"/>
                  <a:gd name="connsiteY24" fmla="*/ 311338 h 31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8725" h="311338">
                    <a:moveTo>
                      <a:pt x="87157" y="311338"/>
                    </a:moveTo>
                    <a:cubicBezTo>
                      <a:pt x="65326" y="310893"/>
                      <a:pt x="45055" y="308220"/>
                      <a:pt x="26788" y="297750"/>
                    </a:cubicBezTo>
                    <a:cubicBezTo>
                      <a:pt x="18769" y="293072"/>
                      <a:pt x="11418" y="287503"/>
                      <a:pt x="5403" y="280374"/>
                    </a:cubicBezTo>
                    <a:cubicBezTo>
                      <a:pt x="-1948" y="271686"/>
                      <a:pt x="-1725" y="261217"/>
                      <a:pt x="5626" y="252752"/>
                    </a:cubicBezTo>
                    <a:cubicBezTo>
                      <a:pt x="9413" y="248296"/>
                      <a:pt x="13200" y="243618"/>
                      <a:pt x="16987" y="238940"/>
                    </a:cubicBezTo>
                    <a:cubicBezTo>
                      <a:pt x="24115" y="230475"/>
                      <a:pt x="31689" y="229362"/>
                      <a:pt x="40822" y="235822"/>
                    </a:cubicBezTo>
                    <a:cubicBezTo>
                      <a:pt x="47060" y="240277"/>
                      <a:pt x="52852" y="245178"/>
                      <a:pt x="59757" y="248519"/>
                    </a:cubicBezTo>
                    <a:cubicBezTo>
                      <a:pt x="77133" y="256984"/>
                      <a:pt x="94954" y="257652"/>
                      <a:pt x="112329" y="249410"/>
                    </a:cubicBezTo>
                    <a:cubicBezTo>
                      <a:pt x="132378" y="240054"/>
                      <a:pt x="134605" y="217555"/>
                      <a:pt x="117453" y="203298"/>
                    </a:cubicBezTo>
                    <a:cubicBezTo>
                      <a:pt x="106983" y="194611"/>
                      <a:pt x="94954" y="188373"/>
                      <a:pt x="82925" y="182359"/>
                    </a:cubicBezTo>
                    <a:cubicBezTo>
                      <a:pt x="65995" y="173894"/>
                      <a:pt x="49287" y="165206"/>
                      <a:pt x="35031" y="152731"/>
                    </a:cubicBezTo>
                    <a:cubicBezTo>
                      <a:pt x="8076" y="129341"/>
                      <a:pt x="-389" y="99491"/>
                      <a:pt x="8076" y="65408"/>
                    </a:cubicBezTo>
                    <a:cubicBezTo>
                      <a:pt x="16319" y="31994"/>
                      <a:pt x="39263" y="11723"/>
                      <a:pt x="72009" y="3703"/>
                    </a:cubicBezTo>
                    <a:cubicBezTo>
                      <a:pt x="106760" y="-4985"/>
                      <a:pt x="139283" y="1698"/>
                      <a:pt x="168243" y="22861"/>
                    </a:cubicBezTo>
                    <a:cubicBezTo>
                      <a:pt x="174034" y="27093"/>
                      <a:pt x="179381" y="31994"/>
                      <a:pt x="181386" y="39568"/>
                    </a:cubicBezTo>
                    <a:cubicBezTo>
                      <a:pt x="183168" y="46251"/>
                      <a:pt x="182054" y="52043"/>
                      <a:pt x="177376" y="57166"/>
                    </a:cubicBezTo>
                    <a:cubicBezTo>
                      <a:pt x="172698" y="62290"/>
                      <a:pt x="168020" y="67191"/>
                      <a:pt x="163119" y="72091"/>
                    </a:cubicBezTo>
                    <a:cubicBezTo>
                      <a:pt x="154209" y="80779"/>
                      <a:pt x="147303" y="80779"/>
                      <a:pt x="138170" y="72537"/>
                    </a:cubicBezTo>
                    <a:cubicBezTo>
                      <a:pt x="122131" y="58280"/>
                      <a:pt x="103864" y="53379"/>
                      <a:pt x="83147" y="59171"/>
                    </a:cubicBezTo>
                    <a:cubicBezTo>
                      <a:pt x="72455" y="62067"/>
                      <a:pt x="65772" y="69641"/>
                      <a:pt x="63544" y="80556"/>
                    </a:cubicBezTo>
                    <a:cubicBezTo>
                      <a:pt x="61317" y="91472"/>
                      <a:pt x="63990" y="101050"/>
                      <a:pt x="73123" y="108402"/>
                    </a:cubicBezTo>
                    <a:cubicBezTo>
                      <a:pt x="84261" y="117312"/>
                      <a:pt x="96736" y="123549"/>
                      <a:pt x="109656" y="129118"/>
                    </a:cubicBezTo>
                    <a:cubicBezTo>
                      <a:pt x="127923" y="137361"/>
                      <a:pt x="145298" y="146939"/>
                      <a:pt x="160669" y="160082"/>
                    </a:cubicBezTo>
                    <a:cubicBezTo>
                      <a:pt x="204776" y="197507"/>
                      <a:pt x="195642" y="271018"/>
                      <a:pt x="141957" y="298641"/>
                    </a:cubicBezTo>
                    <a:cubicBezTo>
                      <a:pt x="124136" y="307551"/>
                      <a:pt x="105646" y="311338"/>
                      <a:pt x="87157" y="311338"/>
                    </a:cubicBezTo>
                  </a:path>
                </a:pathLst>
              </a:custGeom>
              <a:grpFill/>
              <a:ln w="2224" cap="flat">
                <a:noFill/>
                <a:prstDash val="solid"/>
                <a:miter/>
              </a:ln>
            </p:spPr>
            <p:txBody>
              <a:bodyPr rtlCol="0" anchor="ctr"/>
              <a:lstStyle/>
              <a:p>
                <a:endParaRPr lang="nl-NL"/>
              </a:p>
            </p:txBody>
          </p:sp>
          <p:sp>
            <p:nvSpPr>
              <p:cNvPr id="18" name="Graphic 13">
                <a:extLst>
                  <a:ext uri="{FF2B5EF4-FFF2-40B4-BE49-F238E27FC236}">
                    <a16:creationId xmlns:a16="http://schemas.microsoft.com/office/drawing/2014/main" id="{02F0CE2D-C189-40FB-AA9D-04D37CFAE93E}"/>
                  </a:ext>
                </a:extLst>
              </p:cNvPr>
              <p:cNvSpPr/>
              <p:nvPr/>
            </p:nvSpPr>
            <p:spPr>
              <a:xfrm>
                <a:off x="1766651" y="1560036"/>
                <a:ext cx="188703" cy="310781"/>
              </a:xfrm>
              <a:custGeom>
                <a:avLst/>
                <a:gdLst>
                  <a:gd name="connsiteX0" fmla="*/ 99996 w 188703"/>
                  <a:gd name="connsiteY0" fmla="*/ 114 h 310781"/>
                  <a:gd name="connsiteX1" fmla="*/ 169052 w 188703"/>
                  <a:gd name="connsiteY1" fmla="*/ 23281 h 310781"/>
                  <a:gd name="connsiteX2" fmla="*/ 179076 w 188703"/>
                  <a:gd name="connsiteY2" fmla="*/ 33528 h 310781"/>
                  <a:gd name="connsiteX3" fmla="*/ 177294 w 188703"/>
                  <a:gd name="connsiteY3" fmla="*/ 56695 h 310781"/>
                  <a:gd name="connsiteX4" fmla="*/ 161032 w 188703"/>
                  <a:gd name="connsiteY4" fmla="*/ 73180 h 310781"/>
                  <a:gd name="connsiteX5" fmla="*/ 138979 w 188703"/>
                  <a:gd name="connsiteY5" fmla="*/ 72511 h 310781"/>
                  <a:gd name="connsiteX6" fmla="*/ 85516 w 188703"/>
                  <a:gd name="connsiteY6" fmla="*/ 57809 h 310781"/>
                  <a:gd name="connsiteX7" fmla="*/ 63685 w 188703"/>
                  <a:gd name="connsiteY7" fmla="*/ 78972 h 310781"/>
                  <a:gd name="connsiteX8" fmla="*/ 73932 w 188703"/>
                  <a:gd name="connsiteY8" fmla="*/ 108599 h 310781"/>
                  <a:gd name="connsiteX9" fmla="*/ 110020 w 188703"/>
                  <a:gd name="connsiteY9" fmla="*/ 128870 h 310781"/>
                  <a:gd name="connsiteX10" fmla="*/ 156800 w 188703"/>
                  <a:gd name="connsiteY10" fmla="*/ 156270 h 310781"/>
                  <a:gd name="connsiteX11" fmla="*/ 143657 w 188703"/>
                  <a:gd name="connsiteY11" fmla="*/ 297056 h 310781"/>
                  <a:gd name="connsiteX12" fmla="*/ 75492 w 188703"/>
                  <a:gd name="connsiteY12" fmla="*/ 310422 h 310781"/>
                  <a:gd name="connsiteX13" fmla="*/ 16905 w 188703"/>
                  <a:gd name="connsiteY13" fmla="*/ 291041 h 310781"/>
                  <a:gd name="connsiteX14" fmla="*/ 4876 w 188703"/>
                  <a:gd name="connsiteY14" fmla="*/ 279680 h 310781"/>
                  <a:gd name="connsiteX15" fmla="*/ 5322 w 188703"/>
                  <a:gd name="connsiteY15" fmla="*/ 252726 h 310781"/>
                  <a:gd name="connsiteX16" fmla="*/ 15791 w 188703"/>
                  <a:gd name="connsiteY16" fmla="*/ 239806 h 310781"/>
                  <a:gd name="connsiteX17" fmla="*/ 42523 w 188703"/>
                  <a:gd name="connsiteY17" fmla="*/ 236910 h 310781"/>
                  <a:gd name="connsiteX18" fmla="*/ 62126 w 188703"/>
                  <a:gd name="connsiteY18" fmla="*/ 249385 h 310781"/>
                  <a:gd name="connsiteX19" fmla="*/ 111579 w 188703"/>
                  <a:gd name="connsiteY19" fmla="*/ 249162 h 310781"/>
                  <a:gd name="connsiteX20" fmla="*/ 117594 w 188703"/>
                  <a:gd name="connsiteY20" fmla="*/ 203273 h 310781"/>
                  <a:gd name="connsiteX21" fmla="*/ 79279 w 188703"/>
                  <a:gd name="connsiteY21" fmla="*/ 180106 h 310781"/>
                  <a:gd name="connsiteX22" fmla="*/ 27152 w 188703"/>
                  <a:gd name="connsiteY22" fmla="*/ 144909 h 310781"/>
                  <a:gd name="connsiteX23" fmla="*/ 9777 w 188703"/>
                  <a:gd name="connsiteY23" fmla="*/ 58700 h 310781"/>
                  <a:gd name="connsiteX24" fmla="*/ 75714 w 188703"/>
                  <a:gd name="connsiteY24" fmla="*/ 2341 h 310781"/>
                  <a:gd name="connsiteX25" fmla="*/ 99996 w 188703"/>
                  <a:gd name="connsiteY25" fmla="*/ 114 h 310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8703" h="310781">
                    <a:moveTo>
                      <a:pt x="99996" y="114"/>
                    </a:moveTo>
                    <a:cubicBezTo>
                      <a:pt x="125613" y="-555"/>
                      <a:pt x="148335" y="8133"/>
                      <a:pt x="169052" y="23281"/>
                    </a:cubicBezTo>
                    <a:cubicBezTo>
                      <a:pt x="172839" y="26177"/>
                      <a:pt x="176626" y="29296"/>
                      <a:pt x="179076" y="33528"/>
                    </a:cubicBezTo>
                    <a:cubicBezTo>
                      <a:pt x="183532" y="41547"/>
                      <a:pt x="183309" y="50235"/>
                      <a:pt x="177294" y="56695"/>
                    </a:cubicBezTo>
                    <a:cubicBezTo>
                      <a:pt x="172171" y="62487"/>
                      <a:pt x="166824" y="68279"/>
                      <a:pt x="161032" y="73180"/>
                    </a:cubicBezTo>
                    <a:cubicBezTo>
                      <a:pt x="153013" y="80085"/>
                      <a:pt x="146776" y="79640"/>
                      <a:pt x="138979" y="72511"/>
                    </a:cubicBezTo>
                    <a:cubicBezTo>
                      <a:pt x="123608" y="58477"/>
                      <a:pt x="106010" y="53354"/>
                      <a:pt x="85516" y="57809"/>
                    </a:cubicBezTo>
                    <a:cubicBezTo>
                      <a:pt x="73932" y="60259"/>
                      <a:pt x="66581" y="67388"/>
                      <a:pt x="63685" y="78972"/>
                    </a:cubicBezTo>
                    <a:cubicBezTo>
                      <a:pt x="60567" y="91001"/>
                      <a:pt x="64131" y="101025"/>
                      <a:pt x="73932" y="108599"/>
                    </a:cubicBezTo>
                    <a:cubicBezTo>
                      <a:pt x="84848" y="117287"/>
                      <a:pt x="97322" y="123301"/>
                      <a:pt x="110020" y="128870"/>
                    </a:cubicBezTo>
                    <a:cubicBezTo>
                      <a:pt x="126727" y="136221"/>
                      <a:pt x="142320" y="145132"/>
                      <a:pt x="156800" y="156270"/>
                    </a:cubicBezTo>
                    <a:cubicBezTo>
                      <a:pt x="205585" y="194140"/>
                      <a:pt x="196229" y="268765"/>
                      <a:pt x="143657" y="297056"/>
                    </a:cubicBezTo>
                    <a:cubicBezTo>
                      <a:pt x="122272" y="308640"/>
                      <a:pt x="99550" y="311981"/>
                      <a:pt x="75492" y="310422"/>
                    </a:cubicBezTo>
                    <a:cubicBezTo>
                      <a:pt x="54106" y="309085"/>
                      <a:pt x="34281" y="303962"/>
                      <a:pt x="16905" y="291041"/>
                    </a:cubicBezTo>
                    <a:cubicBezTo>
                      <a:pt x="12450" y="287700"/>
                      <a:pt x="8440" y="283913"/>
                      <a:pt x="4876" y="279680"/>
                    </a:cubicBezTo>
                    <a:cubicBezTo>
                      <a:pt x="-1807" y="271438"/>
                      <a:pt x="-1584" y="260968"/>
                      <a:pt x="5322" y="252726"/>
                    </a:cubicBezTo>
                    <a:cubicBezTo>
                      <a:pt x="8886" y="248494"/>
                      <a:pt x="12450" y="244038"/>
                      <a:pt x="15791" y="239806"/>
                    </a:cubicBezTo>
                    <a:cubicBezTo>
                      <a:pt x="24256" y="229559"/>
                      <a:pt x="32053" y="228668"/>
                      <a:pt x="42523" y="236910"/>
                    </a:cubicBezTo>
                    <a:cubicBezTo>
                      <a:pt x="48760" y="241588"/>
                      <a:pt x="54998" y="246266"/>
                      <a:pt x="62126" y="249385"/>
                    </a:cubicBezTo>
                    <a:cubicBezTo>
                      <a:pt x="78610" y="256513"/>
                      <a:pt x="95318" y="256736"/>
                      <a:pt x="111579" y="249162"/>
                    </a:cubicBezTo>
                    <a:cubicBezTo>
                      <a:pt x="131851" y="239806"/>
                      <a:pt x="134524" y="217752"/>
                      <a:pt x="117594" y="203273"/>
                    </a:cubicBezTo>
                    <a:cubicBezTo>
                      <a:pt x="106010" y="193471"/>
                      <a:pt x="92644" y="186788"/>
                      <a:pt x="79279" y="180106"/>
                    </a:cubicBezTo>
                    <a:cubicBezTo>
                      <a:pt x="60344" y="170527"/>
                      <a:pt x="41855" y="160503"/>
                      <a:pt x="27152" y="144909"/>
                    </a:cubicBezTo>
                    <a:cubicBezTo>
                      <a:pt x="3985" y="119737"/>
                      <a:pt x="-693" y="90110"/>
                      <a:pt x="9777" y="58700"/>
                    </a:cubicBezTo>
                    <a:cubicBezTo>
                      <a:pt x="20247" y="27068"/>
                      <a:pt x="43859" y="9470"/>
                      <a:pt x="75714" y="2341"/>
                    </a:cubicBezTo>
                    <a:cubicBezTo>
                      <a:pt x="83511" y="559"/>
                      <a:pt x="91753" y="-332"/>
                      <a:pt x="99996" y="114"/>
                    </a:cubicBezTo>
                  </a:path>
                </a:pathLst>
              </a:custGeom>
              <a:grpFill/>
              <a:ln w="2224" cap="flat">
                <a:noFill/>
                <a:prstDash val="solid"/>
                <a:miter/>
              </a:ln>
            </p:spPr>
            <p:txBody>
              <a:bodyPr rtlCol="0" anchor="ctr"/>
              <a:lstStyle/>
              <a:p>
                <a:endParaRPr lang="nl-NL"/>
              </a:p>
            </p:txBody>
          </p:sp>
          <p:sp>
            <p:nvSpPr>
              <p:cNvPr id="19" name="Graphic 13">
                <a:extLst>
                  <a:ext uri="{FF2B5EF4-FFF2-40B4-BE49-F238E27FC236}">
                    <a16:creationId xmlns:a16="http://schemas.microsoft.com/office/drawing/2014/main" id="{68774EC6-3700-4912-8FD5-488D7BBD3590}"/>
                  </a:ext>
                </a:extLst>
              </p:cNvPr>
              <p:cNvSpPr/>
              <p:nvPr/>
            </p:nvSpPr>
            <p:spPr>
              <a:xfrm>
                <a:off x="1807515" y="1137089"/>
                <a:ext cx="149294" cy="297867"/>
              </a:xfrm>
              <a:custGeom>
                <a:avLst/>
                <a:gdLst>
                  <a:gd name="connsiteX0" fmla="*/ 322 w 149294"/>
                  <a:gd name="connsiteY0" fmla="*/ 189828 h 297867"/>
                  <a:gd name="connsiteX1" fmla="*/ 545 w 149294"/>
                  <a:gd name="connsiteY1" fmla="*/ 102505 h 297867"/>
                  <a:gd name="connsiteX2" fmla="*/ 33959 w 149294"/>
                  <a:gd name="connsiteY2" fmla="*/ 24761 h 297867"/>
                  <a:gd name="connsiteX3" fmla="*/ 100119 w 149294"/>
                  <a:gd name="connsiteY3" fmla="*/ 257 h 297867"/>
                  <a:gd name="connsiteX4" fmla="*/ 129524 w 149294"/>
                  <a:gd name="connsiteY4" fmla="*/ 257 h 297867"/>
                  <a:gd name="connsiteX5" fmla="*/ 149127 w 149294"/>
                  <a:gd name="connsiteY5" fmla="*/ 19415 h 297867"/>
                  <a:gd name="connsiteX6" fmla="*/ 149127 w 149294"/>
                  <a:gd name="connsiteY6" fmla="*/ 37236 h 297867"/>
                  <a:gd name="connsiteX7" fmla="*/ 129524 w 149294"/>
                  <a:gd name="connsiteY7" fmla="*/ 56616 h 297867"/>
                  <a:gd name="connsiteX8" fmla="*/ 109030 w 149294"/>
                  <a:gd name="connsiteY8" fmla="*/ 56616 h 297867"/>
                  <a:gd name="connsiteX9" fmla="*/ 61136 w 149294"/>
                  <a:gd name="connsiteY9" fmla="*/ 97382 h 297867"/>
                  <a:gd name="connsiteX10" fmla="*/ 59799 w 149294"/>
                  <a:gd name="connsiteY10" fmla="*/ 117208 h 297867"/>
                  <a:gd name="connsiteX11" fmla="*/ 59799 w 149294"/>
                  <a:gd name="connsiteY11" fmla="*/ 276260 h 297867"/>
                  <a:gd name="connsiteX12" fmla="*/ 38191 w 149294"/>
                  <a:gd name="connsiteY12" fmla="*/ 297868 h 297867"/>
                  <a:gd name="connsiteX13" fmla="*/ 20370 w 149294"/>
                  <a:gd name="connsiteY13" fmla="*/ 297868 h 297867"/>
                  <a:gd name="connsiteX14" fmla="*/ 99 w 149294"/>
                  <a:gd name="connsiteY14" fmla="*/ 278042 h 297867"/>
                  <a:gd name="connsiteX15" fmla="*/ 99 w 149294"/>
                  <a:gd name="connsiteY15" fmla="*/ 246855 h 297867"/>
                  <a:gd name="connsiteX16" fmla="*/ 99 w 149294"/>
                  <a:gd name="connsiteY16" fmla="*/ 189605 h 297867"/>
                  <a:gd name="connsiteX17" fmla="*/ 322 w 149294"/>
                  <a:gd name="connsiteY17" fmla="*/ 189605 h 297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9294" h="297867">
                    <a:moveTo>
                      <a:pt x="322" y="189828"/>
                    </a:moveTo>
                    <a:cubicBezTo>
                      <a:pt x="322" y="160646"/>
                      <a:pt x="-347" y="131687"/>
                      <a:pt x="545" y="102505"/>
                    </a:cubicBezTo>
                    <a:cubicBezTo>
                      <a:pt x="1213" y="72432"/>
                      <a:pt x="11237" y="45478"/>
                      <a:pt x="33959" y="24761"/>
                    </a:cubicBezTo>
                    <a:cubicBezTo>
                      <a:pt x="52671" y="7608"/>
                      <a:pt x="75393" y="1148"/>
                      <a:pt x="100119" y="257"/>
                    </a:cubicBezTo>
                    <a:cubicBezTo>
                      <a:pt x="109921" y="-188"/>
                      <a:pt x="119723" y="34"/>
                      <a:pt x="129524" y="257"/>
                    </a:cubicBezTo>
                    <a:cubicBezTo>
                      <a:pt x="141776" y="257"/>
                      <a:pt x="148904" y="7163"/>
                      <a:pt x="149127" y="19415"/>
                    </a:cubicBezTo>
                    <a:cubicBezTo>
                      <a:pt x="149350" y="25429"/>
                      <a:pt x="149350" y="31221"/>
                      <a:pt x="149127" y="37236"/>
                    </a:cubicBezTo>
                    <a:cubicBezTo>
                      <a:pt x="148682" y="49488"/>
                      <a:pt x="141999" y="56393"/>
                      <a:pt x="129524" y="56616"/>
                    </a:cubicBezTo>
                    <a:cubicBezTo>
                      <a:pt x="122618" y="56839"/>
                      <a:pt x="115713" y="56616"/>
                      <a:pt x="109030" y="56616"/>
                    </a:cubicBezTo>
                    <a:cubicBezTo>
                      <a:pt x="82521" y="56616"/>
                      <a:pt x="65591" y="71096"/>
                      <a:pt x="61136" y="97382"/>
                    </a:cubicBezTo>
                    <a:cubicBezTo>
                      <a:pt x="60022" y="104065"/>
                      <a:pt x="59799" y="110747"/>
                      <a:pt x="59799" y="117208"/>
                    </a:cubicBezTo>
                    <a:cubicBezTo>
                      <a:pt x="59799" y="170225"/>
                      <a:pt x="59799" y="223242"/>
                      <a:pt x="59799" y="276260"/>
                    </a:cubicBezTo>
                    <a:cubicBezTo>
                      <a:pt x="59799" y="291408"/>
                      <a:pt x="53116" y="297868"/>
                      <a:pt x="38191" y="297868"/>
                    </a:cubicBezTo>
                    <a:cubicBezTo>
                      <a:pt x="32177" y="297868"/>
                      <a:pt x="26385" y="297868"/>
                      <a:pt x="20370" y="297868"/>
                    </a:cubicBezTo>
                    <a:cubicBezTo>
                      <a:pt x="7673" y="297868"/>
                      <a:pt x="322" y="290962"/>
                      <a:pt x="99" y="278042"/>
                    </a:cubicBezTo>
                    <a:cubicBezTo>
                      <a:pt x="-124" y="267572"/>
                      <a:pt x="99" y="257325"/>
                      <a:pt x="99" y="246855"/>
                    </a:cubicBezTo>
                    <a:lnTo>
                      <a:pt x="99" y="189605"/>
                    </a:lnTo>
                    <a:lnTo>
                      <a:pt x="322" y="189605"/>
                    </a:lnTo>
                    <a:close/>
                  </a:path>
                </a:pathLst>
              </a:custGeom>
              <a:grpFill/>
              <a:ln w="2224" cap="flat">
                <a:noFill/>
                <a:prstDash val="solid"/>
                <a:miter/>
              </a:ln>
            </p:spPr>
            <p:txBody>
              <a:bodyPr rtlCol="0" anchor="ctr"/>
              <a:lstStyle/>
              <a:p>
                <a:endParaRPr lang="nl-NL"/>
              </a:p>
            </p:txBody>
          </p:sp>
          <p:sp>
            <p:nvSpPr>
              <p:cNvPr id="20" name="Graphic 13">
                <a:extLst>
                  <a:ext uri="{FF2B5EF4-FFF2-40B4-BE49-F238E27FC236}">
                    <a16:creationId xmlns:a16="http://schemas.microsoft.com/office/drawing/2014/main" id="{7CE7D503-A547-4785-9189-E3A1779C1F4A}"/>
                  </a:ext>
                </a:extLst>
              </p:cNvPr>
              <p:cNvSpPr/>
              <p:nvPr/>
            </p:nvSpPr>
            <p:spPr>
              <a:xfrm>
                <a:off x="1646334" y="1566610"/>
                <a:ext cx="59923" cy="298155"/>
              </a:xfrm>
              <a:custGeom>
                <a:avLst/>
                <a:gdLst>
                  <a:gd name="connsiteX0" fmla="*/ 59923 w 59923"/>
                  <a:gd name="connsiteY0" fmla="*/ 149251 h 298155"/>
                  <a:gd name="connsiteX1" fmla="*/ 59923 w 59923"/>
                  <a:gd name="connsiteY1" fmla="*/ 274889 h 298155"/>
                  <a:gd name="connsiteX2" fmla="*/ 36533 w 59923"/>
                  <a:gd name="connsiteY2" fmla="*/ 298056 h 298155"/>
                  <a:gd name="connsiteX3" fmla="*/ 19826 w 59923"/>
                  <a:gd name="connsiteY3" fmla="*/ 298056 h 298155"/>
                  <a:gd name="connsiteX4" fmla="*/ 0 w 59923"/>
                  <a:gd name="connsiteY4" fmla="*/ 277785 h 298155"/>
                  <a:gd name="connsiteX5" fmla="*/ 0 w 59923"/>
                  <a:gd name="connsiteY5" fmla="*/ 244370 h 298155"/>
                  <a:gd name="connsiteX6" fmla="*/ 0 w 59923"/>
                  <a:gd name="connsiteY6" fmla="*/ 22053 h 298155"/>
                  <a:gd name="connsiteX7" fmla="*/ 21831 w 59923"/>
                  <a:gd name="connsiteY7" fmla="*/ 0 h 298155"/>
                  <a:gd name="connsiteX8" fmla="*/ 38983 w 59923"/>
                  <a:gd name="connsiteY8" fmla="*/ 0 h 298155"/>
                  <a:gd name="connsiteX9" fmla="*/ 59700 w 59923"/>
                  <a:gd name="connsiteY9" fmla="*/ 20940 h 298155"/>
                  <a:gd name="connsiteX10" fmla="*/ 59700 w 59923"/>
                  <a:gd name="connsiteY10" fmla="*/ 71952 h 298155"/>
                  <a:gd name="connsiteX11" fmla="*/ 59700 w 59923"/>
                  <a:gd name="connsiteY11" fmla="*/ 149251 h 29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923" h="298155">
                    <a:moveTo>
                      <a:pt x="59923" y="149251"/>
                    </a:moveTo>
                    <a:cubicBezTo>
                      <a:pt x="59923" y="191130"/>
                      <a:pt x="59923" y="233009"/>
                      <a:pt x="59923" y="274889"/>
                    </a:cubicBezTo>
                    <a:cubicBezTo>
                      <a:pt x="59923" y="291596"/>
                      <a:pt x="53463" y="298056"/>
                      <a:pt x="36533" y="298056"/>
                    </a:cubicBezTo>
                    <a:cubicBezTo>
                      <a:pt x="30964" y="298056"/>
                      <a:pt x="25395" y="298279"/>
                      <a:pt x="19826" y="298056"/>
                    </a:cubicBezTo>
                    <a:cubicBezTo>
                      <a:pt x="7128" y="297833"/>
                      <a:pt x="0" y="290705"/>
                      <a:pt x="0" y="277785"/>
                    </a:cubicBezTo>
                    <a:cubicBezTo>
                      <a:pt x="0" y="266647"/>
                      <a:pt x="0" y="255509"/>
                      <a:pt x="0" y="244370"/>
                    </a:cubicBezTo>
                    <a:cubicBezTo>
                      <a:pt x="0" y="170190"/>
                      <a:pt x="0" y="96233"/>
                      <a:pt x="0" y="22053"/>
                    </a:cubicBezTo>
                    <a:cubicBezTo>
                      <a:pt x="0" y="6460"/>
                      <a:pt x="6460" y="0"/>
                      <a:pt x="21831" y="0"/>
                    </a:cubicBezTo>
                    <a:cubicBezTo>
                      <a:pt x="27623" y="0"/>
                      <a:pt x="33414" y="0"/>
                      <a:pt x="38983" y="0"/>
                    </a:cubicBezTo>
                    <a:cubicBezTo>
                      <a:pt x="52795" y="223"/>
                      <a:pt x="59700" y="7128"/>
                      <a:pt x="59700" y="20940"/>
                    </a:cubicBezTo>
                    <a:cubicBezTo>
                      <a:pt x="59700" y="37870"/>
                      <a:pt x="59700" y="55022"/>
                      <a:pt x="59700" y="71952"/>
                    </a:cubicBezTo>
                    <a:lnTo>
                      <a:pt x="59700" y="149251"/>
                    </a:lnTo>
                    <a:close/>
                  </a:path>
                </a:pathLst>
              </a:custGeom>
              <a:grpFill/>
              <a:ln w="2224" cap="flat">
                <a:noFill/>
                <a:prstDash val="solid"/>
                <a:miter/>
              </a:ln>
            </p:spPr>
            <p:txBody>
              <a:bodyPr rtlCol="0" anchor="ctr"/>
              <a:lstStyle/>
              <a:p>
                <a:endParaRPr lang="nl-NL"/>
              </a:p>
            </p:txBody>
          </p:sp>
        </p:grpSp>
      </p:grpSp>
    </p:spTree>
    <p:extLst>
      <p:ext uri="{BB962C8B-B14F-4D97-AF65-F5344CB8AC3E}">
        <p14:creationId xmlns:p14="http://schemas.microsoft.com/office/powerpoint/2010/main" val="1714972425"/>
      </p:ext>
    </p:extLst>
  </p:cSld>
  <p:clrMapOvr>
    <a:masterClrMapping/>
  </p:clrMapOvr>
  <p:transition spd="med"/>
  <p:hf sldNum="0" hdr="0" ftr="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Eindedia met social">
    <p:bg>
      <p:bgPr>
        <a:solidFill>
          <a:schemeClr val="accent2"/>
        </a:solidFill>
        <a:effectLst/>
      </p:bgPr>
    </p:bg>
    <p:spTree>
      <p:nvGrpSpPr>
        <p:cNvPr id="1" name=""/>
        <p:cNvGrpSpPr/>
        <p:nvPr/>
      </p:nvGrpSpPr>
      <p:grpSpPr>
        <a:xfrm>
          <a:off x="0" y="0"/>
          <a:ext cx="0" cy="0"/>
          <a:chOff x="0" y="0"/>
          <a:chExt cx="0" cy="0"/>
        </a:xfrm>
      </p:grpSpPr>
      <p:sp>
        <p:nvSpPr>
          <p:cNvPr id="6" name="Tijdelijke aanduiding voor afbeelding 4">
            <a:extLst>
              <a:ext uri="{FF2B5EF4-FFF2-40B4-BE49-F238E27FC236}">
                <a16:creationId xmlns:a16="http://schemas.microsoft.com/office/drawing/2014/main" id="{59C95FE6-D8BF-4725-ACC6-FB8975F31B9D}"/>
              </a:ext>
            </a:extLst>
          </p:cNvPr>
          <p:cNvSpPr>
            <a:spLocks noGrp="1"/>
          </p:cNvSpPr>
          <p:nvPr>
            <p:ph type="pic" sz="quarter" idx="24" hasCustomPrompt="1"/>
          </p:nvPr>
        </p:nvSpPr>
        <p:spPr>
          <a:xfrm>
            <a:off x="10922925" y="448887"/>
            <a:ext cx="13065852" cy="12918770"/>
          </a:xfrm>
          <a:prstGeom prst="round2DiagRect">
            <a:avLst>
              <a:gd name="adj1" fmla="val 44527"/>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3" name="Tijdelijke aanduiding voor dianummer 2">
            <a:extLst>
              <a:ext uri="{FF2B5EF4-FFF2-40B4-BE49-F238E27FC236}">
                <a16:creationId xmlns:a16="http://schemas.microsoft.com/office/drawing/2014/main" id="{1C4B4FD0-60E8-42A7-BBF1-AFDA0A7CE86D}"/>
              </a:ext>
            </a:extLst>
          </p:cNvPr>
          <p:cNvSpPr>
            <a:spLocks noGrp="1"/>
          </p:cNvSpPr>
          <p:nvPr>
            <p:ph type="sldNum" sz="quarter" idx="10"/>
          </p:nvPr>
        </p:nvSpPr>
        <p:spPr>
          <a:xfrm>
            <a:off x="23177500" y="13807440"/>
            <a:ext cx="811276" cy="441146"/>
          </a:xfrm>
        </p:spPr>
        <p:txBody>
          <a:bodyPr/>
          <a:lstStyle/>
          <a:p>
            <a:fld id="{86CB4B4D-7CA3-9044-876B-883B54F8677D}" type="slidenum">
              <a:rPr lang="nl-NL" smtClean="0"/>
              <a:pPr/>
              <a:t>‹nr.›</a:t>
            </a:fld>
            <a:endParaRPr lang="nl-NL"/>
          </a:p>
        </p:txBody>
      </p:sp>
      <p:sp>
        <p:nvSpPr>
          <p:cNvPr id="10" name="Pand Noord…">
            <a:extLst>
              <a:ext uri="{FF2B5EF4-FFF2-40B4-BE49-F238E27FC236}">
                <a16:creationId xmlns:a16="http://schemas.microsoft.com/office/drawing/2014/main" id="{1C503A6F-85C2-4B44-A293-B9FE153D7193}"/>
              </a:ext>
            </a:extLst>
          </p:cNvPr>
          <p:cNvSpPr txBox="1"/>
          <p:nvPr userDrawn="1"/>
        </p:nvSpPr>
        <p:spPr>
          <a:xfrm>
            <a:off x="478748" y="11818256"/>
            <a:ext cx="3097912" cy="15494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p>
            <a:pPr>
              <a:lnSpc>
                <a:spcPct val="100000"/>
              </a:lnSpc>
              <a:spcBef>
                <a:spcPts val="0"/>
              </a:spcBef>
              <a:defRPr sz="3000" spc="-59">
                <a:latin typeface="Source Sans Pro Regular"/>
                <a:ea typeface="Source Sans Pro Regular"/>
                <a:cs typeface="Source Sans Pro Regular"/>
                <a:sym typeface="Source Sans Pro Regular"/>
              </a:defRPr>
            </a:pPr>
            <a:r>
              <a:rPr err="1"/>
              <a:t>Pand</a:t>
            </a:r>
            <a:r>
              <a:t> Noord</a:t>
            </a:r>
          </a:p>
          <a:p>
            <a:pPr>
              <a:lnSpc>
                <a:spcPct val="100000"/>
              </a:lnSpc>
              <a:spcBef>
                <a:spcPts val="0"/>
              </a:spcBef>
              <a:defRPr sz="3000" spc="-59">
                <a:latin typeface="Source Sans Pro Regular"/>
                <a:ea typeface="Source Sans Pro Regular"/>
                <a:cs typeface="Source Sans Pro Regular"/>
                <a:sym typeface="Source Sans Pro Regular"/>
              </a:defRPr>
            </a:pPr>
            <a:r>
              <a:rPr err="1"/>
              <a:t>Meeuwenlaan</a:t>
            </a:r>
            <a:r>
              <a:t> 100</a:t>
            </a:r>
          </a:p>
          <a:p>
            <a:pPr>
              <a:lnSpc>
                <a:spcPct val="100000"/>
              </a:lnSpc>
              <a:spcBef>
                <a:spcPts val="0"/>
              </a:spcBef>
              <a:defRPr sz="3000" spc="-59">
                <a:latin typeface="Source Sans Pro Regular"/>
                <a:ea typeface="Source Sans Pro Regular"/>
                <a:cs typeface="Source Sans Pro Regular"/>
                <a:sym typeface="Source Sans Pro Regular"/>
              </a:defRPr>
            </a:pPr>
            <a:r>
              <a:t>1021 JL Amsterdam</a:t>
            </a:r>
          </a:p>
        </p:txBody>
      </p:sp>
      <p:sp>
        <p:nvSpPr>
          <p:cNvPr id="11" name="+31 (0) 20 447 39 25…">
            <a:extLst>
              <a:ext uri="{FF2B5EF4-FFF2-40B4-BE49-F238E27FC236}">
                <a16:creationId xmlns:a16="http://schemas.microsoft.com/office/drawing/2014/main" id="{CB01E701-D776-49C1-AD9D-8F05749A2957}"/>
              </a:ext>
            </a:extLst>
          </p:cNvPr>
          <p:cNvSpPr txBox="1"/>
          <p:nvPr userDrawn="1"/>
        </p:nvSpPr>
        <p:spPr>
          <a:xfrm>
            <a:off x="4023077" y="11818256"/>
            <a:ext cx="3492628" cy="15494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p>
            <a:pPr>
              <a:lnSpc>
                <a:spcPct val="100000"/>
              </a:lnSpc>
              <a:spcBef>
                <a:spcPts val="0"/>
              </a:spcBef>
              <a:defRPr sz="3000" spc="-59">
                <a:latin typeface="Source Sans Pro Regular"/>
                <a:ea typeface="Source Sans Pro Regular"/>
                <a:cs typeface="Source Sans Pro Regular"/>
                <a:sym typeface="Source Sans Pro Regular"/>
              </a:defRPr>
            </a:pPr>
            <a:r>
              <a:t>+31 (0) 20 447 39 25</a:t>
            </a:r>
          </a:p>
          <a:p>
            <a:pPr>
              <a:lnSpc>
                <a:spcPct val="100000"/>
              </a:lnSpc>
              <a:spcBef>
                <a:spcPts val="0"/>
              </a:spcBef>
              <a:defRPr sz="3000" spc="-59">
                <a:latin typeface="Source Sans Pro Regular"/>
                <a:ea typeface="Source Sans Pro Regular"/>
                <a:cs typeface="Source Sans Pro Regular"/>
                <a:sym typeface="Source Sans Pro Regular"/>
              </a:defRPr>
            </a:pPr>
            <a:r>
              <a:t>info@squarewise.com</a:t>
            </a:r>
          </a:p>
          <a:p>
            <a:pPr>
              <a:lnSpc>
                <a:spcPct val="100000"/>
              </a:lnSpc>
              <a:spcBef>
                <a:spcPts val="0"/>
              </a:spcBef>
              <a:defRPr sz="3000" spc="-59">
                <a:latin typeface="Source Sans Pro Regular"/>
                <a:ea typeface="Source Sans Pro Regular"/>
                <a:cs typeface="Source Sans Pro Regular"/>
                <a:sym typeface="Source Sans Pro Regular"/>
              </a:defRPr>
            </a:pPr>
            <a:r>
              <a:t>squarewise.com</a:t>
            </a:r>
          </a:p>
        </p:txBody>
      </p:sp>
      <p:pic>
        <p:nvPicPr>
          <p:cNvPr id="12" name="Graphic 11">
            <a:extLst>
              <a:ext uri="{FF2B5EF4-FFF2-40B4-BE49-F238E27FC236}">
                <a16:creationId xmlns:a16="http://schemas.microsoft.com/office/drawing/2014/main" id="{2280E3EE-3C3F-4782-AE3A-9325A183BF2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7010" y="413369"/>
            <a:ext cx="2165251" cy="2165251"/>
          </a:xfrm>
          <a:prstGeom prst="rect">
            <a:avLst/>
          </a:prstGeom>
        </p:spPr>
      </p:pic>
      <p:sp>
        <p:nvSpPr>
          <p:cNvPr id="13" name="Tijdelijke aanduiding voor datum 4">
            <a:extLst>
              <a:ext uri="{FF2B5EF4-FFF2-40B4-BE49-F238E27FC236}">
                <a16:creationId xmlns:a16="http://schemas.microsoft.com/office/drawing/2014/main" id="{FB78E81C-0E0D-42C6-94AB-735DF66E9CBB}"/>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14" name="Tijdelijke aanduiding voor voettekst 4">
            <a:extLst>
              <a:ext uri="{FF2B5EF4-FFF2-40B4-BE49-F238E27FC236}">
                <a16:creationId xmlns:a16="http://schemas.microsoft.com/office/drawing/2014/main" id="{27347367-9FB0-4D0C-8447-0E9362348DC0}"/>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
        <p:nvSpPr>
          <p:cNvPr id="9" name="Forme libre : forme 3">
            <a:hlinkClick r:id="rId4"/>
            <a:extLst>
              <a:ext uri="{FF2B5EF4-FFF2-40B4-BE49-F238E27FC236}">
                <a16:creationId xmlns:a16="http://schemas.microsoft.com/office/drawing/2014/main" id="{F93A93A9-20F0-491E-95F6-F1280C48C6E7}"/>
              </a:ext>
            </a:extLst>
          </p:cNvPr>
          <p:cNvSpPr/>
          <p:nvPr userDrawn="1"/>
        </p:nvSpPr>
        <p:spPr>
          <a:xfrm>
            <a:off x="508020" y="10438562"/>
            <a:ext cx="427153" cy="871387"/>
          </a:xfrm>
          <a:custGeom>
            <a:avLst/>
            <a:gdLst>
              <a:gd name="connsiteX0" fmla="*/ 159544 w 238125"/>
              <a:gd name="connsiteY0" fmla="*/ 111919 h 485775"/>
              <a:gd name="connsiteX1" fmla="*/ 159544 w 238125"/>
              <a:gd name="connsiteY1" fmla="*/ 159544 h 485775"/>
              <a:gd name="connsiteX2" fmla="*/ 235744 w 238125"/>
              <a:gd name="connsiteY2" fmla="*/ 159544 h 485775"/>
              <a:gd name="connsiteX3" fmla="*/ 226219 w 238125"/>
              <a:gd name="connsiteY3" fmla="*/ 245269 h 485775"/>
              <a:gd name="connsiteX4" fmla="*/ 159544 w 238125"/>
              <a:gd name="connsiteY4" fmla="*/ 245269 h 485775"/>
              <a:gd name="connsiteX5" fmla="*/ 159544 w 238125"/>
              <a:gd name="connsiteY5" fmla="*/ 483394 h 485775"/>
              <a:gd name="connsiteX6" fmla="*/ 54769 w 238125"/>
              <a:gd name="connsiteY6" fmla="*/ 483394 h 485775"/>
              <a:gd name="connsiteX7" fmla="*/ 54769 w 238125"/>
              <a:gd name="connsiteY7" fmla="*/ 245269 h 485775"/>
              <a:gd name="connsiteX8" fmla="*/ 7144 w 238125"/>
              <a:gd name="connsiteY8" fmla="*/ 245269 h 485775"/>
              <a:gd name="connsiteX9" fmla="*/ 7144 w 238125"/>
              <a:gd name="connsiteY9" fmla="*/ 159544 h 485775"/>
              <a:gd name="connsiteX10" fmla="*/ 54769 w 238125"/>
              <a:gd name="connsiteY10" fmla="*/ 159544 h 485775"/>
              <a:gd name="connsiteX11" fmla="*/ 54769 w 238125"/>
              <a:gd name="connsiteY11" fmla="*/ 111919 h 485775"/>
              <a:gd name="connsiteX12" fmla="*/ 130969 w 238125"/>
              <a:gd name="connsiteY12" fmla="*/ 7144 h 485775"/>
              <a:gd name="connsiteX13" fmla="*/ 235744 w 238125"/>
              <a:gd name="connsiteY13" fmla="*/ 7144 h 485775"/>
              <a:gd name="connsiteX14" fmla="*/ 235744 w 238125"/>
              <a:gd name="connsiteY14" fmla="*/ 83344 h 485775"/>
              <a:gd name="connsiteX15" fmla="*/ 188119 w 238125"/>
              <a:gd name="connsiteY15" fmla="*/ 83344 h 485775"/>
              <a:gd name="connsiteX16" fmla="*/ 159544 w 238125"/>
              <a:gd name="connsiteY16" fmla="*/ 111919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8125" h="485775">
                <a:moveTo>
                  <a:pt x="159544" y="111919"/>
                </a:moveTo>
                <a:lnTo>
                  <a:pt x="159544" y="159544"/>
                </a:lnTo>
                <a:lnTo>
                  <a:pt x="235744" y="159544"/>
                </a:lnTo>
                <a:lnTo>
                  <a:pt x="226219" y="245269"/>
                </a:lnTo>
                <a:lnTo>
                  <a:pt x="159544" y="245269"/>
                </a:lnTo>
                <a:lnTo>
                  <a:pt x="159544" y="483394"/>
                </a:lnTo>
                <a:lnTo>
                  <a:pt x="54769" y="483394"/>
                </a:lnTo>
                <a:lnTo>
                  <a:pt x="54769" y="245269"/>
                </a:lnTo>
                <a:lnTo>
                  <a:pt x="7144" y="245269"/>
                </a:lnTo>
                <a:lnTo>
                  <a:pt x="7144" y="159544"/>
                </a:lnTo>
                <a:lnTo>
                  <a:pt x="54769" y="159544"/>
                </a:lnTo>
                <a:lnTo>
                  <a:pt x="54769" y="111919"/>
                </a:lnTo>
                <a:cubicBezTo>
                  <a:pt x="54769" y="111919"/>
                  <a:pt x="46196" y="21431"/>
                  <a:pt x="130969" y="7144"/>
                </a:cubicBezTo>
                <a:lnTo>
                  <a:pt x="235744" y="7144"/>
                </a:lnTo>
                <a:lnTo>
                  <a:pt x="235744" y="83344"/>
                </a:lnTo>
                <a:lnTo>
                  <a:pt x="188119" y="83344"/>
                </a:lnTo>
                <a:cubicBezTo>
                  <a:pt x="188119" y="83344"/>
                  <a:pt x="161449" y="82391"/>
                  <a:pt x="159544" y="111919"/>
                </a:cubicBezTo>
                <a:close/>
              </a:path>
            </a:pathLst>
          </a:custGeom>
          <a:solidFill>
            <a:schemeClr val="tx1"/>
          </a:solidFill>
          <a:ln w="9525" cap="flat">
            <a:noFill/>
            <a:prstDash val="solid"/>
            <a:miter/>
          </a:ln>
        </p:spPr>
        <p:txBody>
          <a:bodyPr rtlCol="0" anchor="ctr"/>
          <a:lstStyle/>
          <a:p>
            <a:endParaRPr lang="fr-FR" sz="9600"/>
          </a:p>
        </p:txBody>
      </p:sp>
      <p:sp>
        <p:nvSpPr>
          <p:cNvPr id="15" name="Forme libre : forme 4">
            <a:hlinkClick r:id="rId5"/>
            <a:extLst>
              <a:ext uri="{FF2B5EF4-FFF2-40B4-BE49-F238E27FC236}">
                <a16:creationId xmlns:a16="http://schemas.microsoft.com/office/drawing/2014/main" id="{8FAA4836-3521-45EA-B408-13F34D08DF18}"/>
              </a:ext>
            </a:extLst>
          </p:cNvPr>
          <p:cNvSpPr/>
          <p:nvPr userDrawn="1"/>
        </p:nvSpPr>
        <p:spPr>
          <a:xfrm>
            <a:off x="4062208" y="10592337"/>
            <a:ext cx="871387" cy="717612"/>
          </a:xfrm>
          <a:custGeom>
            <a:avLst/>
            <a:gdLst>
              <a:gd name="connsiteX0" fmla="*/ 435769 w 485775"/>
              <a:gd name="connsiteY0" fmla="*/ 73819 h 400050"/>
              <a:gd name="connsiteX1" fmla="*/ 483394 w 485775"/>
              <a:gd name="connsiteY1" fmla="*/ 64294 h 400050"/>
              <a:gd name="connsiteX2" fmla="*/ 435769 w 485775"/>
              <a:gd name="connsiteY2" fmla="*/ 111919 h 400050"/>
              <a:gd name="connsiteX3" fmla="*/ 435769 w 485775"/>
              <a:gd name="connsiteY3" fmla="*/ 111919 h 400050"/>
              <a:gd name="connsiteX4" fmla="*/ 435769 w 485775"/>
              <a:gd name="connsiteY4" fmla="*/ 140494 h 400050"/>
              <a:gd name="connsiteX5" fmla="*/ 7144 w 485775"/>
              <a:gd name="connsiteY5" fmla="*/ 359569 h 400050"/>
              <a:gd name="connsiteX6" fmla="*/ 140494 w 485775"/>
              <a:gd name="connsiteY6" fmla="*/ 311944 h 400050"/>
              <a:gd name="connsiteX7" fmla="*/ 54769 w 485775"/>
              <a:gd name="connsiteY7" fmla="*/ 254794 h 400050"/>
              <a:gd name="connsiteX8" fmla="*/ 92869 w 485775"/>
              <a:gd name="connsiteY8" fmla="*/ 245269 h 400050"/>
              <a:gd name="connsiteX9" fmla="*/ 26194 w 485775"/>
              <a:gd name="connsiteY9" fmla="*/ 150019 h 400050"/>
              <a:gd name="connsiteX10" fmla="*/ 72866 w 485775"/>
              <a:gd name="connsiteY10" fmla="*/ 168116 h 400050"/>
              <a:gd name="connsiteX11" fmla="*/ 35719 w 485775"/>
              <a:gd name="connsiteY11" fmla="*/ 26194 h 400050"/>
              <a:gd name="connsiteX12" fmla="*/ 229076 w 485775"/>
              <a:gd name="connsiteY12" fmla="*/ 130016 h 400050"/>
              <a:gd name="connsiteX13" fmla="*/ 238601 w 485775"/>
              <a:gd name="connsiteY13" fmla="*/ 128111 h 400050"/>
              <a:gd name="connsiteX14" fmla="*/ 236696 w 485775"/>
              <a:gd name="connsiteY14" fmla="*/ 107156 h 400050"/>
              <a:gd name="connsiteX15" fmla="*/ 336709 w 485775"/>
              <a:gd name="connsiteY15" fmla="*/ 7144 h 400050"/>
              <a:gd name="connsiteX16" fmla="*/ 417671 w 485775"/>
              <a:gd name="connsiteY16" fmla="*/ 45244 h 400050"/>
              <a:gd name="connsiteX17" fmla="*/ 465296 w 485775"/>
              <a:gd name="connsiteY17" fmla="*/ 16669 h 400050"/>
              <a:gd name="connsiteX18" fmla="*/ 435769 w 485775"/>
              <a:gd name="connsiteY18" fmla="*/ 73819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85775" h="400050">
                <a:moveTo>
                  <a:pt x="435769" y="73819"/>
                </a:moveTo>
                <a:lnTo>
                  <a:pt x="483394" y="64294"/>
                </a:lnTo>
                <a:cubicBezTo>
                  <a:pt x="483394" y="64294"/>
                  <a:pt x="443389" y="109061"/>
                  <a:pt x="435769" y="111919"/>
                </a:cubicBezTo>
                <a:lnTo>
                  <a:pt x="435769" y="111919"/>
                </a:lnTo>
                <a:cubicBezTo>
                  <a:pt x="434816" y="133826"/>
                  <a:pt x="435769" y="140494"/>
                  <a:pt x="435769" y="140494"/>
                </a:cubicBezTo>
                <a:cubicBezTo>
                  <a:pt x="344329" y="532924"/>
                  <a:pt x="7144" y="359569"/>
                  <a:pt x="7144" y="359569"/>
                </a:cubicBezTo>
                <a:cubicBezTo>
                  <a:pt x="130016" y="362426"/>
                  <a:pt x="140494" y="311944"/>
                  <a:pt x="140494" y="311944"/>
                </a:cubicBezTo>
                <a:cubicBezTo>
                  <a:pt x="69056" y="301466"/>
                  <a:pt x="54769" y="254794"/>
                  <a:pt x="54769" y="254794"/>
                </a:cubicBezTo>
                <a:cubicBezTo>
                  <a:pt x="79534" y="266224"/>
                  <a:pt x="92869" y="245269"/>
                  <a:pt x="92869" y="245269"/>
                </a:cubicBezTo>
                <a:cubicBezTo>
                  <a:pt x="15716" y="225266"/>
                  <a:pt x="26194" y="150019"/>
                  <a:pt x="26194" y="150019"/>
                </a:cubicBezTo>
                <a:cubicBezTo>
                  <a:pt x="39529" y="161449"/>
                  <a:pt x="60484" y="166211"/>
                  <a:pt x="72866" y="168116"/>
                </a:cubicBezTo>
                <a:cubicBezTo>
                  <a:pt x="64294" y="157639"/>
                  <a:pt x="-8096" y="70961"/>
                  <a:pt x="35719" y="26194"/>
                </a:cubicBezTo>
                <a:cubicBezTo>
                  <a:pt x="35719" y="26194"/>
                  <a:pt x="89059" y="121444"/>
                  <a:pt x="229076" y="130016"/>
                </a:cubicBezTo>
                <a:lnTo>
                  <a:pt x="238601" y="128111"/>
                </a:lnTo>
                <a:cubicBezTo>
                  <a:pt x="236696" y="121444"/>
                  <a:pt x="236696" y="114776"/>
                  <a:pt x="236696" y="107156"/>
                </a:cubicBezTo>
                <a:cubicBezTo>
                  <a:pt x="236696" y="51911"/>
                  <a:pt x="281464" y="7144"/>
                  <a:pt x="336709" y="7144"/>
                </a:cubicBezTo>
                <a:cubicBezTo>
                  <a:pt x="403384" y="7144"/>
                  <a:pt x="417671" y="45244"/>
                  <a:pt x="417671" y="45244"/>
                </a:cubicBezTo>
                <a:lnTo>
                  <a:pt x="465296" y="16669"/>
                </a:lnTo>
                <a:cubicBezTo>
                  <a:pt x="464344" y="16669"/>
                  <a:pt x="459581" y="64294"/>
                  <a:pt x="435769" y="73819"/>
                </a:cubicBezTo>
                <a:close/>
              </a:path>
            </a:pathLst>
          </a:custGeom>
          <a:solidFill>
            <a:schemeClr val="tx1"/>
          </a:solidFill>
          <a:ln w="9525" cap="flat">
            <a:noFill/>
            <a:prstDash val="solid"/>
            <a:miter/>
          </a:ln>
        </p:spPr>
        <p:txBody>
          <a:bodyPr rtlCol="0" anchor="ctr"/>
          <a:lstStyle/>
          <a:p>
            <a:endParaRPr lang="fr-FR" sz="9600"/>
          </a:p>
        </p:txBody>
      </p:sp>
      <p:sp>
        <p:nvSpPr>
          <p:cNvPr id="16" name="Forme libre : forme 6">
            <a:hlinkClick r:id="rId6"/>
            <a:extLst>
              <a:ext uri="{FF2B5EF4-FFF2-40B4-BE49-F238E27FC236}">
                <a16:creationId xmlns:a16="http://schemas.microsoft.com/office/drawing/2014/main" id="{F47B0E42-6549-458D-A58A-A3E28014EF0E}"/>
              </a:ext>
            </a:extLst>
          </p:cNvPr>
          <p:cNvSpPr/>
          <p:nvPr userDrawn="1"/>
        </p:nvSpPr>
        <p:spPr>
          <a:xfrm>
            <a:off x="2109557" y="10464192"/>
            <a:ext cx="871387" cy="820127"/>
          </a:xfrm>
          <a:custGeom>
            <a:avLst/>
            <a:gdLst>
              <a:gd name="connsiteX0" fmla="*/ 388144 w 485775"/>
              <a:gd name="connsiteY0" fmla="*/ 454819 h 457200"/>
              <a:gd name="connsiteX1" fmla="*/ 388144 w 485775"/>
              <a:gd name="connsiteY1" fmla="*/ 268129 h 457200"/>
              <a:gd name="connsiteX2" fmla="*/ 340519 w 485775"/>
              <a:gd name="connsiteY2" fmla="*/ 230981 h 457200"/>
              <a:gd name="connsiteX3" fmla="*/ 273844 w 485775"/>
              <a:gd name="connsiteY3" fmla="*/ 258604 h 457200"/>
              <a:gd name="connsiteX4" fmla="*/ 273844 w 485775"/>
              <a:gd name="connsiteY4" fmla="*/ 454819 h 457200"/>
              <a:gd name="connsiteX5" fmla="*/ 178594 w 485775"/>
              <a:gd name="connsiteY5" fmla="*/ 454819 h 457200"/>
              <a:gd name="connsiteX6" fmla="*/ 178594 w 485775"/>
              <a:gd name="connsiteY6" fmla="*/ 159544 h 457200"/>
              <a:gd name="connsiteX7" fmla="*/ 273844 w 485775"/>
              <a:gd name="connsiteY7" fmla="*/ 159544 h 457200"/>
              <a:gd name="connsiteX8" fmla="*/ 273844 w 485775"/>
              <a:gd name="connsiteY8" fmla="*/ 203359 h 457200"/>
              <a:gd name="connsiteX9" fmla="*/ 369094 w 485775"/>
              <a:gd name="connsiteY9" fmla="*/ 147161 h 457200"/>
              <a:gd name="connsiteX10" fmla="*/ 481489 w 485775"/>
              <a:gd name="connsiteY10" fmla="*/ 264319 h 457200"/>
              <a:gd name="connsiteX11" fmla="*/ 483394 w 485775"/>
              <a:gd name="connsiteY11" fmla="*/ 264319 h 457200"/>
              <a:gd name="connsiteX12" fmla="*/ 483394 w 485775"/>
              <a:gd name="connsiteY12" fmla="*/ 454819 h 457200"/>
              <a:gd name="connsiteX13" fmla="*/ 388144 w 485775"/>
              <a:gd name="connsiteY13" fmla="*/ 454819 h 457200"/>
              <a:gd name="connsiteX14" fmla="*/ 64294 w 485775"/>
              <a:gd name="connsiteY14" fmla="*/ 121444 h 457200"/>
              <a:gd name="connsiteX15" fmla="*/ 7144 w 485775"/>
              <a:gd name="connsiteY15" fmla="*/ 64294 h 457200"/>
              <a:gd name="connsiteX16" fmla="*/ 64294 w 485775"/>
              <a:gd name="connsiteY16" fmla="*/ 7144 h 457200"/>
              <a:gd name="connsiteX17" fmla="*/ 121444 w 485775"/>
              <a:gd name="connsiteY17" fmla="*/ 64294 h 457200"/>
              <a:gd name="connsiteX18" fmla="*/ 64294 w 485775"/>
              <a:gd name="connsiteY18" fmla="*/ 121444 h 457200"/>
              <a:gd name="connsiteX19" fmla="*/ 111919 w 485775"/>
              <a:gd name="connsiteY19" fmla="*/ 454819 h 457200"/>
              <a:gd name="connsiteX20" fmla="*/ 16669 w 485775"/>
              <a:gd name="connsiteY20" fmla="*/ 454819 h 457200"/>
              <a:gd name="connsiteX21" fmla="*/ 16669 w 485775"/>
              <a:gd name="connsiteY21" fmla="*/ 159544 h 457200"/>
              <a:gd name="connsiteX22" fmla="*/ 111919 w 485775"/>
              <a:gd name="connsiteY22" fmla="*/ 159544 h 457200"/>
              <a:gd name="connsiteX23" fmla="*/ 111919 w 485775"/>
              <a:gd name="connsiteY23" fmla="*/ 454819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85775" h="457200">
                <a:moveTo>
                  <a:pt x="388144" y="454819"/>
                </a:moveTo>
                <a:lnTo>
                  <a:pt x="388144" y="268129"/>
                </a:lnTo>
                <a:cubicBezTo>
                  <a:pt x="388144" y="268129"/>
                  <a:pt x="377666" y="229076"/>
                  <a:pt x="340519" y="230981"/>
                </a:cubicBezTo>
                <a:cubicBezTo>
                  <a:pt x="303371" y="232886"/>
                  <a:pt x="290989" y="238601"/>
                  <a:pt x="273844" y="258604"/>
                </a:cubicBezTo>
                <a:lnTo>
                  <a:pt x="273844" y="454819"/>
                </a:lnTo>
                <a:lnTo>
                  <a:pt x="178594" y="454819"/>
                </a:lnTo>
                <a:lnTo>
                  <a:pt x="178594" y="159544"/>
                </a:lnTo>
                <a:lnTo>
                  <a:pt x="273844" y="159544"/>
                </a:lnTo>
                <a:lnTo>
                  <a:pt x="273844" y="203359"/>
                </a:lnTo>
                <a:cubicBezTo>
                  <a:pt x="273844" y="203359"/>
                  <a:pt x="305276" y="142399"/>
                  <a:pt x="369094" y="147161"/>
                </a:cubicBezTo>
                <a:cubicBezTo>
                  <a:pt x="428149" y="150971"/>
                  <a:pt x="471964" y="187166"/>
                  <a:pt x="481489" y="264319"/>
                </a:cubicBezTo>
                <a:lnTo>
                  <a:pt x="483394" y="264319"/>
                </a:lnTo>
                <a:lnTo>
                  <a:pt x="483394" y="454819"/>
                </a:lnTo>
                <a:lnTo>
                  <a:pt x="388144" y="454819"/>
                </a:lnTo>
                <a:close/>
                <a:moveTo>
                  <a:pt x="64294" y="121444"/>
                </a:moveTo>
                <a:cubicBezTo>
                  <a:pt x="32861" y="121444"/>
                  <a:pt x="7144" y="95726"/>
                  <a:pt x="7144" y="64294"/>
                </a:cubicBezTo>
                <a:cubicBezTo>
                  <a:pt x="7144" y="32861"/>
                  <a:pt x="32861" y="7144"/>
                  <a:pt x="64294" y="7144"/>
                </a:cubicBezTo>
                <a:cubicBezTo>
                  <a:pt x="95726" y="7144"/>
                  <a:pt x="121444" y="32861"/>
                  <a:pt x="121444" y="64294"/>
                </a:cubicBezTo>
                <a:cubicBezTo>
                  <a:pt x="121444" y="95726"/>
                  <a:pt x="95726" y="121444"/>
                  <a:pt x="64294" y="121444"/>
                </a:cubicBezTo>
                <a:close/>
                <a:moveTo>
                  <a:pt x="111919" y="454819"/>
                </a:moveTo>
                <a:lnTo>
                  <a:pt x="16669" y="454819"/>
                </a:lnTo>
                <a:lnTo>
                  <a:pt x="16669" y="159544"/>
                </a:lnTo>
                <a:lnTo>
                  <a:pt x="111919" y="159544"/>
                </a:lnTo>
                <a:lnTo>
                  <a:pt x="111919" y="454819"/>
                </a:lnTo>
                <a:close/>
              </a:path>
            </a:pathLst>
          </a:custGeom>
          <a:solidFill>
            <a:schemeClr val="tx1"/>
          </a:solidFill>
          <a:ln w="9525" cap="flat">
            <a:noFill/>
            <a:prstDash val="solid"/>
            <a:miter/>
          </a:ln>
        </p:spPr>
        <p:txBody>
          <a:bodyPr rtlCol="0" anchor="ctr"/>
          <a:lstStyle/>
          <a:p>
            <a:endParaRPr lang="fr-FR" sz="9600"/>
          </a:p>
        </p:txBody>
      </p:sp>
    </p:spTree>
    <p:extLst>
      <p:ext uri="{BB962C8B-B14F-4D97-AF65-F5344CB8AC3E}">
        <p14:creationId xmlns:p14="http://schemas.microsoft.com/office/powerpoint/2010/main" val="2897776152"/>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Eindedia met social">
    <p:bg>
      <p:bgPr>
        <a:solidFill>
          <a:schemeClr val="accent1"/>
        </a:solidFill>
        <a:effectLst/>
      </p:bgPr>
    </p:bg>
    <p:spTree>
      <p:nvGrpSpPr>
        <p:cNvPr id="1" name=""/>
        <p:cNvGrpSpPr/>
        <p:nvPr/>
      </p:nvGrpSpPr>
      <p:grpSpPr>
        <a:xfrm>
          <a:off x="0" y="0"/>
          <a:ext cx="0" cy="0"/>
          <a:chOff x="0" y="0"/>
          <a:chExt cx="0" cy="0"/>
        </a:xfrm>
      </p:grpSpPr>
      <p:sp>
        <p:nvSpPr>
          <p:cNvPr id="6" name="Tijdelijke aanduiding voor afbeelding 4">
            <a:extLst>
              <a:ext uri="{FF2B5EF4-FFF2-40B4-BE49-F238E27FC236}">
                <a16:creationId xmlns:a16="http://schemas.microsoft.com/office/drawing/2014/main" id="{59C95FE6-D8BF-4725-ACC6-FB8975F31B9D}"/>
              </a:ext>
            </a:extLst>
          </p:cNvPr>
          <p:cNvSpPr>
            <a:spLocks noGrp="1"/>
          </p:cNvSpPr>
          <p:nvPr>
            <p:ph type="pic" sz="quarter" idx="24" hasCustomPrompt="1"/>
          </p:nvPr>
        </p:nvSpPr>
        <p:spPr>
          <a:xfrm>
            <a:off x="10922925" y="448887"/>
            <a:ext cx="13065852" cy="12918770"/>
          </a:xfrm>
          <a:prstGeom prst="round2DiagRect">
            <a:avLst>
              <a:gd name="adj1" fmla="val 44527"/>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sp>
        <p:nvSpPr>
          <p:cNvPr id="3" name="Tijdelijke aanduiding voor dianummer 2">
            <a:extLst>
              <a:ext uri="{FF2B5EF4-FFF2-40B4-BE49-F238E27FC236}">
                <a16:creationId xmlns:a16="http://schemas.microsoft.com/office/drawing/2014/main" id="{1C4B4FD0-60E8-42A7-BBF1-AFDA0A7CE86D}"/>
              </a:ext>
            </a:extLst>
          </p:cNvPr>
          <p:cNvSpPr>
            <a:spLocks noGrp="1"/>
          </p:cNvSpPr>
          <p:nvPr>
            <p:ph type="sldNum" sz="quarter" idx="10"/>
          </p:nvPr>
        </p:nvSpPr>
        <p:spPr>
          <a:xfrm>
            <a:off x="23177500" y="13807440"/>
            <a:ext cx="811276" cy="441146"/>
          </a:xfrm>
        </p:spPr>
        <p:txBody>
          <a:bodyPr/>
          <a:lstStyle/>
          <a:p>
            <a:fld id="{86CB4B4D-7CA3-9044-876B-883B54F8677D}" type="slidenum">
              <a:rPr lang="nl-NL" smtClean="0"/>
              <a:pPr/>
              <a:t>‹nr.›</a:t>
            </a:fld>
            <a:endParaRPr lang="nl-NL"/>
          </a:p>
        </p:txBody>
      </p:sp>
      <p:sp>
        <p:nvSpPr>
          <p:cNvPr id="10" name="Pand Noord…">
            <a:extLst>
              <a:ext uri="{FF2B5EF4-FFF2-40B4-BE49-F238E27FC236}">
                <a16:creationId xmlns:a16="http://schemas.microsoft.com/office/drawing/2014/main" id="{1C503A6F-85C2-4B44-A293-B9FE153D7193}"/>
              </a:ext>
            </a:extLst>
          </p:cNvPr>
          <p:cNvSpPr txBox="1"/>
          <p:nvPr userDrawn="1"/>
        </p:nvSpPr>
        <p:spPr>
          <a:xfrm>
            <a:off x="478748" y="11849163"/>
            <a:ext cx="3133487" cy="14875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p>
            <a:pPr>
              <a:lnSpc>
                <a:spcPct val="100000"/>
              </a:lnSpc>
              <a:spcBef>
                <a:spcPts val="0"/>
              </a:spcBef>
              <a:defRPr sz="3000" spc="-59">
                <a:latin typeface="Source Sans Pro Regular"/>
                <a:ea typeface="Source Sans Pro Regular"/>
                <a:cs typeface="Source Sans Pro Regular"/>
                <a:sym typeface="Source Sans Pro Regular"/>
              </a:defRPr>
            </a:pPr>
            <a:r>
              <a:rPr err="1">
                <a:solidFill>
                  <a:schemeClr val="bg1"/>
                </a:solidFill>
              </a:rPr>
              <a:t>Pand</a:t>
            </a:r>
            <a:r>
              <a:rPr>
                <a:solidFill>
                  <a:schemeClr val="bg1"/>
                </a:solidFill>
              </a:rPr>
              <a:t> Noord</a:t>
            </a:r>
          </a:p>
          <a:p>
            <a:pPr>
              <a:lnSpc>
                <a:spcPct val="100000"/>
              </a:lnSpc>
              <a:spcBef>
                <a:spcPts val="0"/>
              </a:spcBef>
              <a:defRPr sz="3000" spc="-59">
                <a:latin typeface="Source Sans Pro Regular"/>
                <a:ea typeface="Source Sans Pro Regular"/>
                <a:cs typeface="Source Sans Pro Regular"/>
                <a:sym typeface="Source Sans Pro Regular"/>
              </a:defRPr>
            </a:pPr>
            <a:r>
              <a:rPr err="1">
                <a:solidFill>
                  <a:schemeClr val="bg1"/>
                </a:solidFill>
              </a:rPr>
              <a:t>Meeuwenlaan</a:t>
            </a:r>
            <a:r>
              <a:rPr>
                <a:solidFill>
                  <a:schemeClr val="bg1"/>
                </a:solidFill>
              </a:rPr>
              <a:t> 100</a:t>
            </a:r>
          </a:p>
          <a:p>
            <a:pPr>
              <a:lnSpc>
                <a:spcPct val="100000"/>
              </a:lnSpc>
              <a:spcBef>
                <a:spcPts val="0"/>
              </a:spcBef>
              <a:defRPr sz="3000" spc="-59">
                <a:latin typeface="Source Sans Pro Regular"/>
                <a:ea typeface="Source Sans Pro Regular"/>
                <a:cs typeface="Source Sans Pro Regular"/>
                <a:sym typeface="Source Sans Pro Regular"/>
              </a:defRPr>
            </a:pPr>
            <a:r>
              <a:rPr>
                <a:solidFill>
                  <a:schemeClr val="bg1"/>
                </a:solidFill>
              </a:rPr>
              <a:t>1021 JL Amsterdam</a:t>
            </a:r>
          </a:p>
        </p:txBody>
      </p:sp>
      <p:sp>
        <p:nvSpPr>
          <p:cNvPr id="11" name="+31 (0) 20 447 39 25…">
            <a:extLst>
              <a:ext uri="{FF2B5EF4-FFF2-40B4-BE49-F238E27FC236}">
                <a16:creationId xmlns:a16="http://schemas.microsoft.com/office/drawing/2014/main" id="{CB01E701-D776-49C1-AD9D-8F05749A2957}"/>
              </a:ext>
            </a:extLst>
          </p:cNvPr>
          <p:cNvSpPr txBox="1"/>
          <p:nvPr userDrawn="1"/>
        </p:nvSpPr>
        <p:spPr>
          <a:xfrm>
            <a:off x="4023077" y="11849163"/>
            <a:ext cx="3533531" cy="14875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50800" tIns="50800" rIns="50800" bIns="50800" anchor="ctr">
            <a:spAutoFit/>
          </a:bodyPr>
          <a:lstStyle/>
          <a:p>
            <a:pPr>
              <a:lnSpc>
                <a:spcPct val="100000"/>
              </a:lnSpc>
              <a:spcBef>
                <a:spcPts val="0"/>
              </a:spcBef>
              <a:defRPr sz="3000" spc="-59">
                <a:latin typeface="Source Sans Pro Regular"/>
                <a:ea typeface="Source Sans Pro Regular"/>
                <a:cs typeface="Source Sans Pro Regular"/>
                <a:sym typeface="Source Sans Pro Regular"/>
              </a:defRPr>
            </a:pPr>
            <a:r>
              <a:rPr>
                <a:solidFill>
                  <a:schemeClr val="bg1"/>
                </a:solidFill>
              </a:rPr>
              <a:t>+31 (0) 20 447 39 25</a:t>
            </a:r>
          </a:p>
          <a:p>
            <a:pPr>
              <a:lnSpc>
                <a:spcPct val="100000"/>
              </a:lnSpc>
              <a:spcBef>
                <a:spcPts val="0"/>
              </a:spcBef>
              <a:defRPr sz="3000" spc="-59">
                <a:latin typeface="Source Sans Pro Regular"/>
                <a:ea typeface="Source Sans Pro Regular"/>
                <a:cs typeface="Source Sans Pro Regular"/>
                <a:sym typeface="Source Sans Pro Regular"/>
              </a:defRPr>
            </a:pPr>
            <a:r>
              <a:rPr>
                <a:solidFill>
                  <a:schemeClr val="bg1"/>
                </a:solidFill>
              </a:rPr>
              <a:t>info@squarewise.com</a:t>
            </a:r>
          </a:p>
          <a:p>
            <a:pPr>
              <a:lnSpc>
                <a:spcPct val="100000"/>
              </a:lnSpc>
              <a:spcBef>
                <a:spcPts val="0"/>
              </a:spcBef>
              <a:defRPr sz="3000" spc="-59">
                <a:latin typeface="Source Sans Pro Regular"/>
                <a:ea typeface="Source Sans Pro Regular"/>
                <a:cs typeface="Source Sans Pro Regular"/>
                <a:sym typeface="Source Sans Pro Regular"/>
              </a:defRPr>
            </a:pPr>
            <a:r>
              <a:rPr>
                <a:solidFill>
                  <a:schemeClr val="bg1"/>
                </a:solidFill>
              </a:rPr>
              <a:t>squarewise.com</a:t>
            </a:r>
          </a:p>
        </p:txBody>
      </p:sp>
      <p:sp>
        <p:nvSpPr>
          <p:cNvPr id="13" name="Tijdelijke aanduiding voor datum 4">
            <a:extLst>
              <a:ext uri="{FF2B5EF4-FFF2-40B4-BE49-F238E27FC236}">
                <a16:creationId xmlns:a16="http://schemas.microsoft.com/office/drawing/2014/main" id="{FB78E81C-0E0D-42C6-94AB-735DF66E9CBB}"/>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14" name="Tijdelijke aanduiding voor voettekst 4">
            <a:extLst>
              <a:ext uri="{FF2B5EF4-FFF2-40B4-BE49-F238E27FC236}">
                <a16:creationId xmlns:a16="http://schemas.microsoft.com/office/drawing/2014/main" id="{27347367-9FB0-4D0C-8447-0E9362348DC0}"/>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
        <p:nvSpPr>
          <p:cNvPr id="9" name="Forme libre : forme 3">
            <a:hlinkClick r:id="rId2"/>
            <a:extLst>
              <a:ext uri="{FF2B5EF4-FFF2-40B4-BE49-F238E27FC236}">
                <a16:creationId xmlns:a16="http://schemas.microsoft.com/office/drawing/2014/main" id="{F93A93A9-20F0-491E-95F6-F1280C48C6E7}"/>
              </a:ext>
            </a:extLst>
          </p:cNvPr>
          <p:cNvSpPr/>
          <p:nvPr userDrawn="1"/>
        </p:nvSpPr>
        <p:spPr>
          <a:xfrm>
            <a:off x="508020" y="10438562"/>
            <a:ext cx="427153" cy="871387"/>
          </a:xfrm>
          <a:custGeom>
            <a:avLst/>
            <a:gdLst>
              <a:gd name="connsiteX0" fmla="*/ 159544 w 238125"/>
              <a:gd name="connsiteY0" fmla="*/ 111919 h 485775"/>
              <a:gd name="connsiteX1" fmla="*/ 159544 w 238125"/>
              <a:gd name="connsiteY1" fmla="*/ 159544 h 485775"/>
              <a:gd name="connsiteX2" fmla="*/ 235744 w 238125"/>
              <a:gd name="connsiteY2" fmla="*/ 159544 h 485775"/>
              <a:gd name="connsiteX3" fmla="*/ 226219 w 238125"/>
              <a:gd name="connsiteY3" fmla="*/ 245269 h 485775"/>
              <a:gd name="connsiteX4" fmla="*/ 159544 w 238125"/>
              <a:gd name="connsiteY4" fmla="*/ 245269 h 485775"/>
              <a:gd name="connsiteX5" fmla="*/ 159544 w 238125"/>
              <a:gd name="connsiteY5" fmla="*/ 483394 h 485775"/>
              <a:gd name="connsiteX6" fmla="*/ 54769 w 238125"/>
              <a:gd name="connsiteY6" fmla="*/ 483394 h 485775"/>
              <a:gd name="connsiteX7" fmla="*/ 54769 w 238125"/>
              <a:gd name="connsiteY7" fmla="*/ 245269 h 485775"/>
              <a:gd name="connsiteX8" fmla="*/ 7144 w 238125"/>
              <a:gd name="connsiteY8" fmla="*/ 245269 h 485775"/>
              <a:gd name="connsiteX9" fmla="*/ 7144 w 238125"/>
              <a:gd name="connsiteY9" fmla="*/ 159544 h 485775"/>
              <a:gd name="connsiteX10" fmla="*/ 54769 w 238125"/>
              <a:gd name="connsiteY10" fmla="*/ 159544 h 485775"/>
              <a:gd name="connsiteX11" fmla="*/ 54769 w 238125"/>
              <a:gd name="connsiteY11" fmla="*/ 111919 h 485775"/>
              <a:gd name="connsiteX12" fmla="*/ 130969 w 238125"/>
              <a:gd name="connsiteY12" fmla="*/ 7144 h 485775"/>
              <a:gd name="connsiteX13" fmla="*/ 235744 w 238125"/>
              <a:gd name="connsiteY13" fmla="*/ 7144 h 485775"/>
              <a:gd name="connsiteX14" fmla="*/ 235744 w 238125"/>
              <a:gd name="connsiteY14" fmla="*/ 83344 h 485775"/>
              <a:gd name="connsiteX15" fmla="*/ 188119 w 238125"/>
              <a:gd name="connsiteY15" fmla="*/ 83344 h 485775"/>
              <a:gd name="connsiteX16" fmla="*/ 159544 w 238125"/>
              <a:gd name="connsiteY16" fmla="*/ 111919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8125" h="485775">
                <a:moveTo>
                  <a:pt x="159544" y="111919"/>
                </a:moveTo>
                <a:lnTo>
                  <a:pt x="159544" y="159544"/>
                </a:lnTo>
                <a:lnTo>
                  <a:pt x="235744" y="159544"/>
                </a:lnTo>
                <a:lnTo>
                  <a:pt x="226219" y="245269"/>
                </a:lnTo>
                <a:lnTo>
                  <a:pt x="159544" y="245269"/>
                </a:lnTo>
                <a:lnTo>
                  <a:pt x="159544" y="483394"/>
                </a:lnTo>
                <a:lnTo>
                  <a:pt x="54769" y="483394"/>
                </a:lnTo>
                <a:lnTo>
                  <a:pt x="54769" y="245269"/>
                </a:lnTo>
                <a:lnTo>
                  <a:pt x="7144" y="245269"/>
                </a:lnTo>
                <a:lnTo>
                  <a:pt x="7144" y="159544"/>
                </a:lnTo>
                <a:lnTo>
                  <a:pt x="54769" y="159544"/>
                </a:lnTo>
                <a:lnTo>
                  <a:pt x="54769" y="111919"/>
                </a:lnTo>
                <a:cubicBezTo>
                  <a:pt x="54769" y="111919"/>
                  <a:pt x="46196" y="21431"/>
                  <a:pt x="130969" y="7144"/>
                </a:cubicBezTo>
                <a:lnTo>
                  <a:pt x="235744" y="7144"/>
                </a:lnTo>
                <a:lnTo>
                  <a:pt x="235744" y="83344"/>
                </a:lnTo>
                <a:lnTo>
                  <a:pt x="188119" y="83344"/>
                </a:lnTo>
                <a:cubicBezTo>
                  <a:pt x="188119" y="83344"/>
                  <a:pt x="161449" y="82391"/>
                  <a:pt x="159544" y="111919"/>
                </a:cubicBezTo>
                <a:close/>
              </a:path>
            </a:pathLst>
          </a:custGeom>
          <a:solidFill>
            <a:schemeClr val="bg1"/>
          </a:solidFill>
          <a:ln w="9525" cap="flat">
            <a:noFill/>
            <a:prstDash val="solid"/>
            <a:miter/>
          </a:ln>
        </p:spPr>
        <p:txBody>
          <a:bodyPr rtlCol="0" anchor="ctr"/>
          <a:lstStyle/>
          <a:p>
            <a:endParaRPr lang="fr-FR" sz="9600"/>
          </a:p>
        </p:txBody>
      </p:sp>
      <p:sp>
        <p:nvSpPr>
          <p:cNvPr id="15" name="Forme libre : forme 4">
            <a:hlinkClick r:id="rId3"/>
            <a:extLst>
              <a:ext uri="{FF2B5EF4-FFF2-40B4-BE49-F238E27FC236}">
                <a16:creationId xmlns:a16="http://schemas.microsoft.com/office/drawing/2014/main" id="{8FAA4836-3521-45EA-B408-13F34D08DF18}"/>
              </a:ext>
            </a:extLst>
          </p:cNvPr>
          <p:cNvSpPr/>
          <p:nvPr userDrawn="1"/>
        </p:nvSpPr>
        <p:spPr>
          <a:xfrm>
            <a:off x="4062208" y="10592337"/>
            <a:ext cx="871387" cy="717612"/>
          </a:xfrm>
          <a:custGeom>
            <a:avLst/>
            <a:gdLst>
              <a:gd name="connsiteX0" fmla="*/ 435769 w 485775"/>
              <a:gd name="connsiteY0" fmla="*/ 73819 h 400050"/>
              <a:gd name="connsiteX1" fmla="*/ 483394 w 485775"/>
              <a:gd name="connsiteY1" fmla="*/ 64294 h 400050"/>
              <a:gd name="connsiteX2" fmla="*/ 435769 w 485775"/>
              <a:gd name="connsiteY2" fmla="*/ 111919 h 400050"/>
              <a:gd name="connsiteX3" fmla="*/ 435769 w 485775"/>
              <a:gd name="connsiteY3" fmla="*/ 111919 h 400050"/>
              <a:gd name="connsiteX4" fmla="*/ 435769 w 485775"/>
              <a:gd name="connsiteY4" fmla="*/ 140494 h 400050"/>
              <a:gd name="connsiteX5" fmla="*/ 7144 w 485775"/>
              <a:gd name="connsiteY5" fmla="*/ 359569 h 400050"/>
              <a:gd name="connsiteX6" fmla="*/ 140494 w 485775"/>
              <a:gd name="connsiteY6" fmla="*/ 311944 h 400050"/>
              <a:gd name="connsiteX7" fmla="*/ 54769 w 485775"/>
              <a:gd name="connsiteY7" fmla="*/ 254794 h 400050"/>
              <a:gd name="connsiteX8" fmla="*/ 92869 w 485775"/>
              <a:gd name="connsiteY8" fmla="*/ 245269 h 400050"/>
              <a:gd name="connsiteX9" fmla="*/ 26194 w 485775"/>
              <a:gd name="connsiteY9" fmla="*/ 150019 h 400050"/>
              <a:gd name="connsiteX10" fmla="*/ 72866 w 485775"/>
              <a:gd name="connsiteY10" fmla="*/ 168116 h 400050"/>
              <a:gd name="connsiteX11" fmla="*/ 35719 w 485775"/>
              <a:gd name="connsiteY11" fmla="*/ 26194 h 400050"/>
              <a:gd name="connsiteX12" fmla="*/ 229076 w 485775"/>
              <a:gd name="connsiteY12" fmla="*/ 130016 h 400050"/>
              <a:gd name="connsiteX13" fmla="*/ 238601 w 485775"/>
              <a:gd name="connsiteY13" fmla="*/ 128111 h 400050"/>
              <a:gd name="connsiteX14" fmla="*/ 236696 w 485775"/>
              <a:gd name="connsiteY14" fmla="*/ 107156 h 400050"/>
              <a:gd name="connsiteX15" fmla="*/ 336709 w 485775"/>
              <a:gd name="connsiteY15" fmla="*/ 7144 h 400050"/>
              <a:gd name="connsiteX16" fmla="*/ 417671 w 485775"/>
              <a:gd name="connsiteY16" fmla="*/ 45244 h 400050"/>
              <a:gd name="connsiteX17" fmla="*/ 465296 w 485775"/>
              <a:gd name="connsiteY17" fmla="*/ 16669 h 400050"/>
              <a:gd name="connsiteX18" fmla="*/ 435769 w 485775"/>
              <a:gd name="connsiteY18" fmla="*/ 73819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85775" h="400050">
                <a:moveTo>
                  <a:pt x="435769" y="73819"/>
                </a:moveTo>
                <a:lnTo>
                  <a:pt x="483394" y="64294"/>
                </a:lnTo>
                <a:cubicBezTo>
                  <a:pt x="483394" y="64294"/>
                  <a:pt x="443389" y="109061"/>
                  <a:pt x="435769" y="111919"/>
                </a:cubicBezTo>
                <a:lnTo>
                  <a:pt x="435769" y="111919"/>
                </a:lnTo>
                <a:cubicBezTo>
                  <a:pt x="434816" y="133826"/>
                  <a:pt x="435769" y="140494"/>
                  <a:pt x="435769" y="140494"/>
                </a:cubicBezTo>
                <a:cubicBezTo>
                  <a:pt x="344329" y="532924"/>
                  <a:pt x="7144" y="359569"/>
                  <a:pt x="7144" y="359569"/>
                </a:cubicBezTo>
                <a:cubicBezTo>
                  <a:pt x="130016" y="362426"/>
                  <a:pt x="140494" y="311944"/>
                  <a:pt x="140494" y="311944"/>
                </a:cubicBezTo>
                <a:cubicBezTo>
                  <a:pt x="69056" y="301466"/>
                  <a:pt x="54769" y="254794"/>
                  <a:pt x="54769" y="254794"/>
                </a:cubicBezTo>
                <a:cubicBezTo>
                  <a:pt x="79534" y="266224"/>
                  <a:pt x="92869" y="245269"/>
                  <a:pt x="92869" y="245269"/>
                </a:cubicBezTo>
                <a:cubicBezTo>
                  <a:pt x="15716" y="225266"/>
                  <a:pt x="26194" y="150019"/>
                  <a:pt x="26194" y="150019"/>
                </a:cubicBezTo>
                <a:cubicBezTo>
                  <a:pt x="39529" y="161449"/>
                  <a:pt x="60484" y="166211"/>
                  <a:pt x="72866" y="168116"/>
                </a:cubicBezTo>
                <a:cubicBezTo>
                  <a:pt x="64294" y="157639"/>
                  <a:pt x="-8096" y="70961"/>
                  <a:pt x="35719" y="26194"/>
                </a:cubicBezTo>
                <a:cubicBezTo>
                  <a:pt x="35719" y="26194"/>
                  <a:pt x="89059" y="121444"/>
                  <a:pt x="229076" y="130016"/>
                </a:cubicBezTo>
                <a:lnTo>
                  <a:pt x="238601" y="128111"/>
                </a:lnTo>
                <a:cubicBezTo>
                  <a:pt x="236696" y="121444"/>
                  <a:pt x="236696" y="114776"/>
                  <a:pt x="236696" y="107156"/>
                </a:cubicBezTo>
                <a:cubicBezTo>
                  <a:pt x="236696" y="51911"/>
                  <a:pt x="281464" y="7144"/>
                  <a:pt x="336709" y="7144"/>
                </a:cubicBezTo>
                <a:cubicBezTo>
                  <a:pt x="403384" y="7144"/>
                  <a:pt x="417671" y="45244"/>
                  <a:pt x="417671" y="45244"/>
                </a:cubicBezTo>
                <a:lnTo>
                  <a:pt x="465296" y="16669"/>
                </a:lnTo>
                <a:cubicBezTo>
                  <a:pt x="464344" y="16669"/>
                  <a:pt x="459581" y="64294"/>
                  <a:pt x="435769" y="73819"/>
                </a:cubicBezTo>
                <a:close/>
              </a:path>
            </a:pathLst>
          </a:custGeom>
          <a:solidFill>
            <a:schemeClr val="bg1"/>
          </a:solidFill>
          <a:ln w="9525" cap="flat">
            <a:noFill/>
            <a:prstDash val="solid"/>
            <a:miter/>
          </a:ln>
        </p:spPr>
        <p:txBody>
          <a:bodyPr rtlCol="0" anchor="ctr"/>
          <a:lstStyle/>
          <a:p>
            <a:endParaRPr lang="fr-FR" sz="9600"/>
          </a:p>
        </p:txBody>
      </p:sp>
      <p:sp>
        <p:nvSpPr>
          <p:cNvPr id="16" name="Forme libre : forme 6">
            <a:hlinkClick r:id="rId4"/>
            <a:extLst>
              <a:ext uri="{FF2B5EF4-FFF2-40B4-BE49-F238E27FC236}">
                <a16:creationId xmlns:a16="http://schemas.microsoft.com/office/drawing/2014/main" id="{F47B0E42-6549-458D-A58A-A3E28014EF0E}"/>
              </a:ext>
            </a:extLst>
          </p:cNvPr>
          <p:cNvSpPr/>
          <p:nvPr userDrawn="1"/>
        </p:nvSpPr>
        <p:spPr>
          <a:xfrm>
            <a:off x="2109557" y="10464192"/>
            <a:ext cx="871387" cy="820127"/>
          </a:xfrm>
          <a:custGeom>
            <a:avLst/>
            <a:gdLst>
              <a:gd name="connsiteX0" fmla="*/ 388144 w 485775"/>
              <a:gd name="connsiteY0" fmla="*/ 454819 h 457200"/>
              <a:gd name="connsiteX1" fmla="*/ 388144 w 485775"/>
              <a:gd name="connsiteY1" fmla="*/ 268129 h 457200"/>
              <a:gd name="connsiteX2" fmla="*/ 340519 w 485775"/>
              <a:gd name="connsiteY2" fmla="*/ 230981 h 457200"/>
              <a:gd name="connsiteX3" fmla="*/ 273844 w 485775"/>
              <a:gd name="connsiteY3" fmla="*/ 258604 h 457200"/>
              <a:gd name="connsiteX4" fmla="*/ 273844 w 485775"/>
              <a:gd name="connsiteY4" fmla="*/ 454819 h 457200"/>
              <a:gd name="connsiteX5" fmla="*/ 178594 w 485775"/>
              <a:gd name="connsiteY5" fmla="*/ 454819 h 457200"/>
              <a:gd name="connsiteX6" fmla="*/ 178594 w 485775"/>
              <a:gd name="connsiteY6" fmla="*/ 159544 h 457200"/>
              <a:gd name="connsiteX7" fmla="*/ 273844 w 485775"/>
              <a:gd name="connsiteY7" fmla="*/ 159544 h 457200"/>
              <a:gd name="connsiteX8" fmla="*/ 273844 w 485775"/>
              <a:gd name="connsiteY8" fmla="*/ 203359 h 457200"/>
              <a:gd name="connsiteX9" fmla="*/ 369094 w 485775"/>
              <a:gd name="connsiteY9" fmla="*/ 147161 h 457200"/>
              <a:gd name="connsiteX10" fmla="*/ 481489 w 485775"/>
              <a:gd name="connsiteY10" fmla="*/ 264319 h 457200"/>
              <a:gd name="connsiteX11" fmla="*/ 483394 w 485775"/>
              <a:gd name="connsiteY11" fmla="*/ 264319 h 457200"/>
              <a:gd name="connsiteX12" fmla="*/ 483394 w 485775"/>
              <a:gd name="connsiteY12" fmla="*/ 454819 h 457200"/>
              <a:gd name="connsiteX13" fmla="*/ 388144 w 485775"/>
              <a:gd name="connsiteY13" fmla="*/ 454819 h 457200"/>
              <a:gd name="connsiteX14" fmla="*/ 64294 w 485775"/>
              <a:gd name="connsiteY14" fmla="*/ 121444 h 457200"/>
              <a:gd name="connsiteX15" fmla="*/ 7144 w 485775"/>
              <a:gd name="connsiteY15" fmla="*/ 64294 h 457200"/>
              <a:gd name="connsiteX16" fmla="*/ 64294 w 485775"/>
              <a:gd name="connsiteY16" fmla="*/ 7144 h 457200"/>
              <a:gd name="connsiteX17" fmla="*/ 121444 w 485775"/>
              <a:gd name="connsiteY17" fmla="*/ 64294 h 457200"/>
              <a:gd name="connsiteX18" fmla="*/ 64294 w 485775"/>
              <a:gd name="connsiteY18" fmla="*/ 121444 h 457200"/>
              <a:gd name="connsiteX19" fmla="*/ 111919 w 485775"/>
              <a:gd name="connsiteY19" fmla="*/ 454819 h 457200"/>
              <a:gd name="connsiteX20" fmla="*/ 16669 w 485775"/>
              <a:gd name="connsiteY20" fmla="*/ 454819 h 457200"/>
              <a:gd name="connsiteX21" fmla="*/ 16669 w 485775"/>
              <a:gd name="connsiteY21" fmla="*/ 159544 h 457200"/>
              <a:gd name="connsiteX22" fmla="*/ 111919 w 485775"/>
              <a:gd name="connsiteY22" fmla="*/ 159544 h 457200"/>
              <a:gd name="connsiteX23" fmla="*/ 111919 w 485775"/>
              <a:gd name="connsiteY23" fmla="*/ 454819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85775" h="457200">
                <a:moveTo>
                  <a:pt x="388144" y="454819"/>
                </a:moveTo>
                <a:lnTo>
                  <a:pt x="388144" y="268129"/>
                </a:lnTo>
                <a:cubicBezTo>
                  <a:pt x="388144" y="268129"/>
                  <a:pt x="377666" y="229076"/>
                  <a:pt x="340519" y="230981"/>
                </a:cubicBezTo>
                <a:cubicBezTo>
                  <a:pt x="303371" y="232886"/>
                  <a:pt x="290989" y="238601"/>
                  <a:pt x="273844" y="258604"/>
                </a:cubicBezTo>
                <a:lnTo>
                  <a:pt x="273844" y="454819"/>
                </a:lnTo>
                <a:lnTo>
                  <a:pt x="178594" y="454819"/>
                </a:lnTo>
                <a:lnTo>
                  <a:pt x="178594" y="159544"/>
                </a:lnTo>
                <a:lnTo>
                  <a:pt x="273844" y="159544"/>
                </a:lnTo>
                <a:lnTo>
                  <a:pt x="273844" y="203359"/>
                </a:lnTo>
                <a:cubicBezTo>
                  <a:pt x="273844" y="203359"/>
                  <a:pt x="305276" y="142399"/>
                  <a:pt x="369094" y="147161"/>
                </a:cubicBezTo>
                <a:cubicBezTo>
                  <a:pt x="428149" y="150971"/>
                  <a:pt x="471964" y="187166"/>
                  <a:pt x="481489" y="264319"/>
                </a:cubicBezTo>
                <a:lnTo>
                  <a:pt x="483394" y="264319"/>
                </a:lnTo>
                <a:lnTo>
                  <a:pt x="483394" y="454819"/>
                </a:lnTo>
                <a:lnTo>
                  <a:pt x="388144" y="454819"/>
                </a:lnTo>
                <a:close/>
                <a:moveTo>
                  <a:pt x="64294" y="121444"/>
                </a:moveTo>
                <a:cubicBezTo>
                  <a:pt x="32861" y="121444"/>
                  <a:pt x="7144" y="95726"/>
                  <a:pt x="7144" y="64294"/>
                </a:cubicBezTo>
                <a:cubicBezTo>
                  <a:pt x="7144" y="32861"/>
                  <a:pt x="32861" y="7144"/>
                  <a:pt x="64294" y="7144"/>
                </a:cubicBezTo>
                <a:cubicBezTo>
                  <a:pt x="95726" y="7144"/>
                  <a:pt x="121444" y="32861"/>
                  <a:pt x="121444" y="64294"/>
                </a:cubicBezTo>
                <a:cubicBezTo>
                  <a:pt x="121444" y="95726"/>
                  <a:pt x="95726" y="121444"/>
                  <a:pt x="64294" y="121444"/>
                </a:cubicBezTo>
                <a:close/>
                <a:moveTo>
                  <a:pt x="111919" y="454819"/>
                </a:moveTo>
                <a:lnTo>
                  <a:pt x="16669" y="454819"/>
                </a:lnTo>
                <a:lnTo>
                  <a:pt x="16669" y="159544"/>
                </a:lnTo>
                <a:lnTo>
                  <a:pt x="111919" y="159544"/>
                </a:lnTo>
                <a:lnTo>
                  <a:pt x="111919" y="454819"/>
                </a:lnTo>
                <a:close/>
              </a:path>
            </a:pathLst>
          </a:custGeom>
          <a:solidFill>
            <a:schemeClr val="bg1"/>
          </a:solidFill>
          <a:ln w="9525" cap="flat">
            <a:noFill/>
            <a:prstDash val="solid"/>
            <a:miter/>
          </a:ln>
        </p:spPr>
        <p:txBody>
          <a:bodyPr rtlCol="0" anchor="ctr"/>
          <a:lstStyle/>
          <a:p>
            <a:endParaRPr lang="fr-FR" sz="9600"/>
          </a:p>
        </p:txBody>
      </p:sp>
      <p:grpSp>
        <p:nvGrpSpPr>
          <p:cNvPr id="17" name="Groep 16">
            <a:extLst>
              <a:ext uri="{FF2B5EF4-FFF2-40B4-BE49-F238E27FC236}">
                <a16:creationId xmlns:a16="http://schemas.microsoft.com/office/drawing/2014/main" id="{9A419D28-C7EF-4F38-82B6-94CC0B55599C}"/>
              </a:ext>
            </a:extLst>
          </p:cNvPr>
          <p:cNvGrpSpPr/>
          <p:nvPr userDrawn="1"/>
        </p:nvGrpSpPr>
        <p:grpSpPr>
          <a:xfrm>
            <a:off x="367010" y="413369"/>
            <a:ext cx="2165696" cy="2165696"/>
            <a:chOff x="367010" y="413369"/>
            <a:chExt cx="2165696" cy="2165696"/>
          </a:xfrm>
        </p:grpSpPr>
        <p:sp>
          <p:nvSpPr>
            <p:cNvPr id="18" name="Graphic 13">
              <a:extLst>
                <a:ext uri="{FF2B5EF4-FFF2-40B4-BE49-F238E27FC236}">
                  <a16:creationId xmlns:a16="http://schemas.microsoft.com/office/drawing/2014/main" id="{4B7F1482-E379-4446-B972-AC07F9165044}"/>
                </a:ext>
              </a:extLst>
            </p:cNvPr>
            <p:cNvSpPr/>
            <p:nvPr/>
          </p:nvSpPr>
          <p:spPr>
            <a:xfrm>
              <a:off x="367010" y="413369"/>
              <a:ext cx="2165696" cy="2165696"/>
            </a:xfrm>
            <a:custGeom>
              <a:avLst/>
              <a:gdLst>
                <a:gd name="connsiteX0" fmla="*/ 1200912 w 2165696"/>
                <a:gd name="connsiteY0" fmla="*/ 2165697 h 2165696"/>
                <a:gd name="connsiteX1" fmla="*/ 0 w 2165696"/>
                <a:gd name="connsiteY1" fmla="*/ 2165697 h 2165696"/>
                <a:gd name="connsiteX2" fmla="*/ 0 w 2165696"/>
                <a:gd name="connsiteY2" fmla="*/ 964784 h 2165696"/>
                <a:gd name="connsiteX3" fmla="*/ 964784 w 2165696"/>
                <a:gd name="connsiteY3" fmla="*/ 0 h 2165696"/>
                <a:gd name="connsiteX4" fmla="*/ 2165697 w 2165696"/>
                <a:gd name="connsiteY4" fmla="*/ 0 h 2165696"/>
                <a:gd name="connsiteX5" fmla="*/ 2165697 w 2165696"/>
                <a:gd name="connsiteY5" fmla="*/ 1200912 h 2165696"/>
                <a:gd name="connsiteX6" fmla="*/ 1200912 w 2165696"/>
                <a:gd name="connsiteY6" fmla="*/ 2165697 h 2165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5696" h="2165696">
                  <a:moveTo>
                    <a:pt x="1200912" y="2165697"/>
                  </a:moveTo>
                  <a:lnTo>
                    <a:pt x="0" y="2165697"/>
                  </a:lnTo>
                  <a:lnTo>
                    <a:pt x="0" y="964784"/>
                  </a:lnTo>
                  <a:cubicBezTo>
                    <a:pt x="0" y="431936"/>
                    <a:pt x="431936" y="0"/>
                    <a:pt x="964784" y="0"/>
                  </a:cubicBezTo>
                  <a:lnTo>
                    <a:pt x="2165697" y="0"/>
                  </a:lnTo>
                  <a:lnTo>
                    <a:pt x="2165697" y="1200912"/>
                  </a:lnTo>
                  <a:cubicBezTo>
                    <a:pt x="2165697" y="1733760"/>
                    <a:pt x="1733760" y="2165697"/>
                    <a:pt x="1200912" y="2165697"/>
                  </a:cubicBezTo>
                </a:path>
              </a:pathLst>
            </a:custGeom>
            <a:solidFill>
              <a:schemeClr val="bg1"/>
            </a:solidFill>
            <a:ln w="2224" cap="flat">
              <a:noFill/>
              <a:prstDash val="solid"/>
              <a:miter/>
            </a:ln>
          </p:spPr>
          <p:txBody>
            <a:bodyPr rtlCol="0" anchor="ctr"/>
            <a:lstStyle/>
            <a:p>
              <a:endParaRPr lang="nl-NL"/>
            </a:p>
          </p:txBody>
        </p:sp>
        <p:grpSp>
          <p:nvGrpSpPr>
            <p:cNvPr id="19" name="Graphic 13">
              <a:extLst>
                <a:ext uri="{FF2B5EF4-FFF2-40B4-BE49-F238E27FC236}">
                  <a16:creationId xmlns:a16="http://schemas.microsoft.com/office/drawing/2014/main" id="{0493BCFC-8A4A-468B-85CD-B0BB6DA64F22}"/>
                </a:ext>
              </a:extLst>
            </p:cNvPr>
            <p:cNvGrpSpPr/>
            <p:nvPr/>
          </p:nvGrpSpPr>
          <p:grpSpPr>
            <a:xfrm>
              <a:off x="610655" y="1130302"/>
              <a:ext cx="1628994" cy="740997"/>
              <a:chOff x="610655" y="1130302"/>
              <a:chExt cx="1628994" cy="740997"/>
            </a:xfrm>
            <a:solidFill>
              <a:schemeClr val="tx1"/>
            </a:solidFill>
          </p:grpSpPr>
          <p:sp>
            <p:nvSpPr>
              <p:cNvPr id="20" name="Graphic 13">
                <a:extLst>
                  <a:ext uri="{FF2B5EF4-FFF2-40B4-BE49-F238E27FC236}">
                    <a16:creationId xmlns:a16="http://schemas.microsoft.com/office/drawing/2014/main" id="{EC1F4CEB-644E-45A6-9D98-F1C2E26C2002}"/>
                  </a:ext>
                </a:extLst>
              </p:cNvPr>
              <p:cNvSpPr/>
              <p:nvPr/>
            </p:nvSpPr>
            <p:spPr>
              <a:xfrm>
                <a:off x="1171083" y="1566053"/>
                <a:ext cx="397284" cy="305246"/>
              </a:xfrm>
              <a:custGeom>
                <a:avLst/>
                <a:gdLst>
                  <a:gd name="connsiteX0" fmla="*/ 397284 w 397284"/>
                  <a:gd name="connsiteY0" fmla="*/ 109933 h 305246"/>
                  <a:gd name="connsiteX1" fmla="*/ 397284 w 397284"/>
                  <a:gd name="connsiteY1" fmla="*/ 192801 h 305246"/>
                  <a:gd name="connsiteX2" fmla="*/ 291695 w 397284"/>
                  <a:gd name="connsiteY2" fmla="*/ 304850 h 305246"/>
                  <a:gd name="connsiteX3" fmla="*/ 204595 w 397284"/>
                  <a:gd name="connsiteY3" fmla="*/ 275446 h 305246"/>
                  <a:gd name="connsiteX4" fmla="*/ 191898 w 397284"/>
                  <a:gd name="connsiteY4" fmla="*/ 275669 h 305246"/>
                  <a:gd name="connsiteX5" fmla="*/ 143781 w 397284"/>
                  <a:gd name="connsiteY5" fmla="*/ 301509 h 305246"/>
                  <a:gd name="connsiteX6" fmla="*/ 15024 w 397284"/>
                  <a:gd name="connsiteY6" fmla="*/ 251610 h 305246"/>
                  <a:gd name="connsiteX7" fmla="*/ 99 w 397284"/>
                  <a:gd name="connsiteY7" fmla="*/ 195474 h 305246"/>
                  <a:gd name="connsiteX8" fmla="*/ 99 w 397284"/>
                  <a:gd name="connsiteY8" fmla="*/ 21942 h 305246"/>
                  <a:gd name="connsiteX9" fmla="*/ 21261 w 397284"/>
                  <a:gd name="connsiteY9" fmla="*/ 780 h 305246"/>
                  <a:gd name="connsiteX10" fmla="*/ 40196 w 397284"/>
                  <a:gd name="connsiteY10" fmla="*/ 780 h 305246"/>
                  <a:gd name="connsiteX11" fmla="*/ 60022 w 397284"/>
                  <a:gd name="connsiteY11" fmla="*/ 20606 h 305246"/>
                  <a:gd name="connsiteX12" fmla="*/ 60022 w 397284"/>
                  <a:gd name="connsiteY12" fmla="*/ 58921 h 305246"/>
                  <a:gd name="connsiteX13" fmla="*/ 60022 w 397284"/>
                  <a:gd name="connsiteY13" fmla="*/ 192801 h 305246"/>
                  <a:gd name="connsiteX14" fmla="*/ 94996 w 397284"/>
                  <a:gd name="connsiteY14" fmla="*/ 245373 h 305246"/>
                  <a:gd name="connsiteX15" fmla="*/ 168953 w 397284"/>
                  <a:gd name="connsiteY15" fmla="*/ 190128 h 305246"/>
                  <a:gd name="connsiteX16" fmla="*/ 168953 w 397284"/>
                  <a:gd name="connsiteY16" fmla="*/ 22165 h 305246"/>
                  <a:gd name="connsiteX17" fmla="*/ 190561 w 397284"/>
                  <a:gd name="connsiteY17" fmla="*/ 557 h 305246"/>
                  <a:gd name="connsiteX18" fmla="*/ 209941 w 397284"/>
                  <a:gd name="connsiteY18" fmla="*/ 557 h 305246"/>
                  <a:gd name="connsiteX19" fmla="*/ 228208 w 397284"/>
                  <a:gd name="connsiteY19" fmla="*/ 18155 h 305246"/>
                  <a:gd name="connsiteX20" fmla="*/ 228431 w 397284"/>
                  <a:gd name="connsiteY20" fmla="*/ 24170 h 305246"/>
                  <a:gd name="connsiteX21" fmla="*/ 228431 w 397284"/>
                  <a:gd name="connsiteY21" fmla="*/ 189905 h 305246"/>
                  <a:gd name="connsiteX22" fmla="*/ 248479 w 397284"/>
                  <a:gd name="connsiteY22" fmla="*/ 237576 h 305246"/>
                  <a:gd name="connsiteX23" fmla="*/ 307288 w 397284"/>
                  <a:gd name="connsiteY23" fmla="*/ 243145 h 305246"/>
                  <a:gd name="connsiteX24" fmla="*/ 337139 w 397284"/>
                  <a:gd name="connsiteY24" fmla="*/ 193692 h 305246"/>
                  <a:gd name="connsiteX25" fmla="*/ 337139 w 397284"/>
                  <a:gd name="connsiteY25" fmla="*/ 23501 h 305246"/>
                  <a:gd name="connsiteX26" fmla="*/ 338698 w 397284"/>
                  <a:gd name="connsiteY26" fmla="*/ 11918 h 305246"/>
                  <a:gd name="connsiteX27" fmla="*/ 354291 w 397284"/>
                  <a:gd name="connsiteY27" fmla="*/ 334 h 305246"/>
                  <a:gd name="connsiteX28" fmla="*/ 380355 w 397284"/>
                  <a:gd name="connsiteY28" fmla="*/ 334 h 305246"/>
                  <a:gd name="connsiteX29" fmla="*/ 397062 w 397284"/>
                  <a:gd name="connsiteY29" fmla="*/ 19492 h 305246"/>
                  <a:gd name="connsiteX30" fmla="*/ 397284 w 397284"/>
                  <a:gd name="connsiteY30" fmla="*/ 109933 h 30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97284" h="305246">
                    <a:moveTo>
                      <a:pt x="397284" y="109933"/>
                    </a:moveTo>
                    <a:lnTo>
                      <a:pt x="397284" y="192801"/>
                    </a:lnTo>
                    <a:cubicBezTo>
                      <a:pt x="397284" y="255397"/>
                      <a:pt x="354291" y="301063"/>
                      <a:pt x="291695" y="304850"/>
                    </a:cubicBezTo>
                    <a:cubicBezTo>
                      <a:pt x="258503" y="306855"/>
                      <a:pt x="229099" y="298613"/>
                      <a:pt x="204595" y="275446"/>
                    </a:cubicBezTo>
                    <a:cubicBezTo>
                      <a:pt x="200140" y="271213"/>
                      <a:pt x="197244" y="271436"/>
                      <a:pt x="191898" y="275669"/>
                    </a:cubicBezTo>
                    <a:cubicBezTo>
                      <a:pt x="177418" y="287252"/>
                      <a:pt x="161825" y="296831"/>
                      <a:pt x="143781" y="301509"/>
                    </a:cubicBezTo>
                    <a:cubicBezTo>
                      <a:pt x="96778" y="313315"/>
                      <a:pt x="40865" y="297277"/>
                      <a:pt x="15024" y="251610"/>
                    </a:cubicBezTo>
                    <a:cubicBezTo>
                      <a:pt x="5223" y="234235"/>
                      <a:pt x="99" y="215300"/>
                      <a:pt x="99" y="195474"/>
                    </a:cubicBezTo>
                    <a:cubicBezTo>
                      <a:pt x="-124" y="137556"/>
                      <a:pt x="99" y="79860"/>
                      <a:pt x="99" y="21942"/>
                    </a:cubicBezTo>
                    <a:cubicBezTo>
                      <a:pt x="99" y="7685"/>
                      <a:pt x="7005" y="1002"/>
                      <a:pt x="21261" y="780"/>
                    </a:cubicBezTo>
                    <a:cubicBezTo>
                      <a:pt x="27499" y="780"/>
                      <a:pt x="33959" y="780"/>
                      <a:pt x="40196" y="780"/>
                    </a:cubicBezTo>
                    <a:cubicBezTo>
                      <a:pt x="52671" y="1002"/>
                      <a:pt x="59799" y="7908"/>
                      <a:pt x="60022" y="20606"/>
                    </a:cubicBezTo>
                    <a:cubicBezTo>
                      <a:pt x="60245" y="33303"/>
                      <a:pt x="60022" y="46223"/>
                      <a:pt x="60022" y="58921"/>
                    </a:cubicBezTo>
                    <a:cubicBezTo>
                      <a:pt x="60022" y="103473"/>
                      <a:pt x="60022" y="148248"/>
                      <a:pt x="60022" y="192801"/>
                    </a:cubicBezTo>
                    <a:cubicBezTo>
                      <a:pt x="60022" y="217973"/>
                      <a:pt x="73165" y="238467"/>
                      <a:pt x="94996" y="245373"/>
                    </a:cubicBezTo>
                    <a:cubicBezTo>
                      <a:pt x="131306" y="257179"/>
                      <a:pt x="168953" y="237131"/>
                      <a:pt x="168953" y="190128"/>
                    </a:cubicBezTo>
                    <a:cubicBezTo>
                      <a:pt x="169176" y="134214"/>
                      <a:pt x="168953" y="78301"/>
                      <a:pt x="168953" y="22165"/>
                    </a:cubicBezTo>
                    <a:cubicBezTo>
                      <a:pt x="168953" y="6794"/>
                      <a:pt x="175190" y="557"/>
                      <a:pt x="190561" y="557"/>
                    </a:cubicBezTo>
                    <a:cubicBezTo>
                      <a:pt x="197021" y="557"/>
                      <a:pt x="203481" y="334"/>
                      <a:pt x="209941" y="557"/>
                    </a:cubicBezTo>
                    <a:cubicBezTo>
                      <a:pt x="220857" y="1002"/>
                      <a:pt x="227317" y="7017"/>
                      <a:pt x="228208" y="18155"/>
                    </a:cubicBezTo>
                    <a:cubicBezTo>
                      <a:pt x="228431" y="20160"/>
                      <a:pt x="228431" y="22165"/>
                      <a:pt x="228431" y="24170"/>
                    </a:cubicBezTo>
                    <a:cubicBezTo>
                      <a:pt x="228431" y="80083"/>
                      <a:pt x="228431" y="133769"/>
                      <a:pt x="228431" y="189905"/>
                    </a:cubicBezTo>
                    <a:cubicBezTo>
                      <a:pt x="228431" y="207949"/>
                      <a:pt x="233331" y="226438"/>
                      <a:pt x="248479" y="237576"/>
                    </a:cubicBezTo>
                    <a:cubicBezTo>
                      <a:pt x="266746" y="251165"/>
                      <a:pt x="287017" y="252278"/>
                      <a:pt x="307288" y="243145"/>
                    </a:cubicBezTo>
                    <a:cubicBezTo>
                      <a:pt x="328005" y="233789"/>
                      <a:pt x="336916" y="215745"/>
                      <a:pt x="337139" y="193692"/>
                    </a:cubicBezTo>
                    <a:cubicBezTo>
                      <a:pt x="337584" y="137110"/>
                      <a:pt x="337361" y="80306"/>
                      <a:pt x="337139" y="23501"/>
                    </a:cubicBezTo>
                    <a:cubicBezTo>
                      <a:pt x="337139" y="19492"/>
                      <a:pt x="337361" y="15705"/>
                      <a:pt x="338698" y="11918"/>
                    </a:cubicBezTo>
                    <a:cubicBezTo>
                      <a:pt x="341148" y="4567"/>
                      <a:pt x="346717" y="780"/>
                      <a:pt x="354291" y="334"/>
                    </a:cubicBezTo>
                    <a:cubicBezTo>
                      <a:pt x="362979" y="-111"/>
                      <a:pt x="371667" y="-111"/>
                      <a:pt x="380355" y="334"/>
                    </a:cubicBezTo>
                    <a:cubicBezTo>
                      <a:pt x="390824" y="1002"/>
                      <a:pt x="397062" y="8354"/>
                      <a:pt x="397062" y="19492"/>
                    </a:cubicBezTo>
                    <a:cubicBezTo>
                      <a:pt x="397284" y="49787"/>
                      <a:pt x="397284" y="79860"/>
                      <a:pt x="397284" y="109933"/>
                    </a:cubicBezTo>
                  </a:path>
                </a:pathLst>
              </a:custGeom>
              <a:grpFill/>
              <a:ln w="2224" cap="flat">
                <a:noFill/>
                <a:prstDash val="solid"/>
                <a:miter/>
              </a:ln>
            </p:spPr>
            <p:txBody>
              <a:bodyPr rtlCol="0" anchor="ctr"/>
              <a:lstStyle/>
              <a:p>
                <a:endParaRPr lang="nl-NL"/>
              </a:p>
            </p:txBody>
          </p:sp>
          <p:sp>
            <p:nvSpPr>
              <p:cNvPr id="21" name="Graphic 13">
                <a:extLst>
                  <a:ext uri="{FF2B5EF4-FFF2-40B4-BE49-F238E27FC236}">
                    <a16:creationId xmlns:a16="http://schemas.microsoft.com/office/drawing/2014/main" id="{CC68BD59-6E50-4824-85E1-BE0905ADFECC}"/>
                  </a:ext>
                </a:extLst>
              </p:cNvPr>
              <p:cNvSpPr/>
              <p:nvPr/>
            </p:nvSpPr>
            <p:spPr>
              <a:xfrm>
                <a:off x="859760" y="1137519"/>
                <a:ext cx="244815" cy="449808"/>
              </a:xfrm>
              <a:custGeom>
                <a:avLst/>
                <a:gdLst>
                  <a:gd name="connsiteX0" fmla="*/ 244816 w 244815"/>
                  <a:gd name="connsiteY0" fmla="*/ 225041 h 449808"/>
                  <a:gd name="connsiteX1" fmla="*/ 244816 w 244815"/>
                  <a:gd name="connsiteY1" fmla="*/ 427977 h 449808"/>
                  <a:gd name="connsiteX2" fmla="*/ 223208 w 244815"/>
                  <a:gd name="connsiteY2" fmla="*/ 449808 h 449808"/>
                  <a:gd name="connsiteX3" fmla="*/ 207615 w 244815"/>
                  <a:gd name="connsiteY3" fmla="*/ 449808 h 449808"/>
                  <a:gd name="connsiteX4" fmla="*/ 184893 w 244815"/>
                  <a:gd name="connsiteY4" fmla="*/ 426864 h 449808"/>
                  <a:gd name="connsiteX5" fmla="*/ 184893 w 244815"/>
                  <a:gd name="connsiteY5" fmla="*/ 309691 h 449808"/>
                  <a:gd name="connsiteX6" fmla="*/ 184893 w 244815"/>
                  <a:gd name="connsiteY6" fmla="*/ 306349 h 449808"/>
                  <a:gd name="connsiteX7" fmla="*/ 176428 w 244815"/>
                  <a:gd name="connsiteY7" fmla="*/ 297884 h 449808"/>
                  <a:gd name="connsiteX8" fmla="*/ 110936 w 244815"/>
                  <a:gd name="connsiteY8" fmla="*/ 297884 h 449808"/>
                  <a:gd name="connsiteX9" fmla="*/ 0 w 244815"/>
                  <a:gd name="connsiteY9" fmla="*/ 186948 h 449808"/>
                  <a:gd name="connsiteX10" fmla="*/ 0 w 244815"/>
                  <a:gd name="connsiteY10" fmla="*/ 110318 h 449808"/>
                  <a:gd name="connsiteX11" fmla="*/ 101134 w 244815"/>
                  <a:gd name="connsiteY11" fmla="*/ 942 h 449808"/>
                  <a:gd name="connsiteX12" fmla="*/ 173309 w 244815"/>
                  <a:gd name="connsiteY12" fmla="*/ 273 h 449808"/>
                  <a:gd name="connsiteX13" fmla="*/ 223876 w 244815"/>
                  <a:gd name="connsiteY13" fmla="*/ 273 h 449808"/>
                  <a:gd name="connsiteX14" fmla="*/ 244816 w 244815"/>
                  <a:gd name="connsiteY14" fmla="*/ 20990 h 449808"/>
                  <a:gd name="connsiteX15" fmla="*/ 244816 w 244815"/>
                  <a:gd name="connsiteY15" fmla="*/ 225041 h 449808"/>
                  <a:gd name="connsiteX16" fmla="*/ 184893 w 244815"/>
                  <a:gd name="connsiteY16" fmla="*/ 148856 h 449808"/>
                  <a:gd name="connsiteX17" fmla="*/ 184893 w 244815"/>
                  <a:gd name="connsiteY17" fmla="*/ 64429 h 449808"/>
                  <a:gd name="connsiteX18" fmla="*/ 177764 w 244815"/>
                  <a:gd name="connsiteY18" fmla="*/ 56410 h 449808"/>
                  <a:gd name="connsiteX19" fmla="*/ 111604 w 244815"/>
                  <a:gd name="connsiteY19" fmla="*/ 56410 h 449808"/>
                  <a:gd name="connsiteX20" fmla="*/ 59923 w 244815"/>
                  <a:gd name="connsiteY20" fmla="*/ 105640 h 449808"/>
                  <a:gd name="connsiteX21" fmla="*/ 59700 w 244815"/>
                  <a:gd name="connsiteY21" fmla="*/ 188285 h 449808"/>
                  <a:gd name="connsiteX22" fmla="*/ 116728 w 244815"/>
                  <a:gd name="connsiteY22" fmla="*/ 240857 h 449808"/>
                  <a:gd name="connsiteX23" fmla="*/ 174423 w 244815"/>
                  <a:gd name="connsiteY23" fmla="*/ 240857 h 449808"/>
                  <a:gd name="connsiteX24" fmla="*/ 184670 w 244815"/>
                  <a:gd name="connsiteY24" fmla="*/ 230833 h 449808"/>
                  <a:gd name="connsiteX25" fmla="*/ 184670 w 244815"/>
                  <a:gd name="connsiteY25" fmla="*/ 148856 h 449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4815" h="449808">
                    <a:moveTo>
                      <a:pt x="244816" y="225041"/>
                    </a:moveTo>
                    <a:lnTo>
                      <a:pt x="244816" y="427977"/>
                    </a:lnTo>
                    <a:cubicBezTo>
                      <a:pt x="244816" y="443125"/>
                      <a:pt x="238356" y="449585"/>
                      <a:pt x="223208" y="449808"/>
                    </a:cubicBezTo>
                    <a:cubicBezTo>
                      <a:pt x="218084" y="449808"/>
                      <a:pt x="212738" y="449808"/>
                      <a:pt x="207615" y="449808"/>
                    </a:cubicBezTo>
                    <a:cubicBezTo>
                      <a:pt x="191130" y="449808"/>
                      <a:pt x="184893" y="443348"/>
                      <a:pt x="184893" y="426864"/>
                    </a:cubicBezTo>
                    <a:cubicBezTo>
                      <a:pt x="184893" y="387880"/>
                      <a:pt x="184893" y="348674"/>
                      <a:pt x="184893" y="309691"/>
                    </a:cubicBezTo>
                    <a:cubicBezTo>
                      <a:pt x="184893" y="308577"/>
                      <a:pt x="184893" y="307463"/>
                      <a:pt x="184893" y="306349"/>
                    </a:cubicBezTo>
                    <a:cubicBezTo>
                      <a:pt x="184893" y="299221"/>
                      <a:pt x="183556" y="297884"/>
                      <a:pt x="176428" y="297884"/>
                    </a:cubicBezTo>
                    <a:cubicBezTo>
                      <a:pt x="154597" y="297884"/>
                      <a:pt x="132766" y="297884"/>
                      <a:pt x="110936" y="297884"/>
                    </a:cubicBezTo>
                    <a:cubicBezTo>
                      <a:pt x="48562" y="297884"/>
                      <a:pt x="0" y="249322"/>
                      <a:pt x="0" y="186948"/>
                    </a:cubicBezTo>
                    <a:cubicBezTo>
                      <a:pt x="0" y="161331"/>
                      <a:pt x="0" y="135713"/>
                      <a:pt x="0" y="110318"/>
                    </a:cubicBezTo>
                    <a:cubicBezTo>
                      <a:pt x="0" y="51732"/>
                      <a:pt x="42770" y="5397"/>
                      <a:pt x="101134" y="942"/>
                    </a:cubicBezTo>
                    <a:cubicBezTo>
                      <a:pt x="125192" y="-840"/>
                      <a:pt x="149251" y="496"/>
                      <a:pt x="173309" y="273"/>
                    </a:cubicBezTo>
                    <a:cubicBezTo>
                      <a:pt x="190239" y="51"/>
                      <a:pt x="206946" y="273"/>
                      <a:pt x="223876" y="273"/>
                    </a:cubicBezTo>
                    <a:cubicBezTo>
                      <a:pt x="237910" y="273"/>
                      <a:pt x="244816" y="7179"/>
                      <a:pt x="244816" y="20990"/>
                    </a:cubicBezTo>
                    <a:cubicBezTo>
                      <a:pt x="244816" y="88710"/>
                      <a:pt x="244816" y="156875"/>
                      <a:pt x="244816" y="225041"/>
                    </a:cubicBezTo>
                    <a:moveTo>
                      <a:pt x="184893" y="148856"/>
                    </a:moveTo>
                    <a:cubicBezTo>
                      <a:pt x="184893" y="120788"/>
                      <a:pt x="184893" y="92497"/>
                      <a:pt x="184893" y="64429"/>
                    </a:cubicBezTo>
                    <a:cubicBezTo>
                      <a:pt x="184893" y="57969"/>
                      <a:pt x="183556" y="56410"/>
                      <a:pt x="177764" y="56410"/>
                    </a:cubicBezTo>
                    <a:cubicBezTo>
                      <a:pt x="155711" y="56410"/>
                      <a:pt x="133658" y="55964"/>
                      <a:pt x="111604" y="56410"/>
                    </a:cubicBezTo>
                    <a:cubicBezTo>
                      <a:pt x="84650" y="57078"/>
                      <a:pt x="61705" y="78686"/>
                      <a:pt x="59923" y="105640"/>
                    </a:cubicBezTo>
                    <a:cubicBezTo>
                      <a:pt x="58141" y="133263"/>
                      <a:pt x="58364" y="160885"/>
                      <a:pt x="59700" y="188285"/>
                    </a:cubicBezTo>
                    <a:cubicBezTo>
                      <a:pt x="61260" y="221922"/>
                      <a:pt x="83090" y="240857"/>
                      <a:pt x="116728" y="240857"/>
                    </a:cubicBezTo>
                    <a:cubicBezTo>
                      <a:pt x="135885" y="240857"/>
                      <a:pt x="155265" y="240857"/>
                      <a:pt x="174423" y="240857"/>
                    </a:cubicBezTo>
                    <a:cubicBezTo>
                      <a:pt x="184002" y="240857"/>
                      <a:pt x="184670" y="240189"/>
                      <a:pt x="184670" y="230833"/>
                    </a:cubicBezTo>
                    <a:lnTo>
                      <a:pt x="184670" y="148856"/>
                    </a:lnTo>
                    <a:close/>
                  </a:path>
                </a:pathLst>
              </a:custGeom>
              <a:grpFill/>
              <a:ln w="2224" cap="flat">
                <a:noFill/>
                <a:prstDash val="solid"/>
                <a:miter/>
              </a:ln>
            </p:spPr>
            <p:txBody>
              <a:bodyPr rtlCol="0" anchor="ctr"/>
              <a:lstStyle/>
              <a:p>
                <a:endParaRPr lang="nl-NL"/>
              </a:p>
            </p:txBody>
          </p:sp>
          <p:sp>
            <p:nvSpPr>
              <p:cNvPr id="22" name="Graphic 13">
                <a:extLst>
                  <a:ext uri="{FF2B5EF4-FFF2-40B4-BE49-F238E27FC236}">
                    <a16:creationId xmlns:a16="http://schemas.microsoft.com/office/drawing/2014/main" id="{3790D571-E4A7-4A78-87DB-447AE770B805}"/>
                  </a:ext>
                </a:extLst>
              </p:cNvPr>
              <p:cNvSpPr/>
              <p:nvPr/>
            </p:nvSpPr>
            <p:spPr>
              <a:xfrm>
                <a:off x="1483718" y="1137124"/>
                <a:ext cx="244815" cy="304629"/>
              </a:xfrm>
              <a:custGeom>
                <a:avLst/>
                <a:gdLst>
                  <a:gd name="connsiteX0" fmla="*/ 244816 w 244815"/>
                  <a:gd name="connsiteY0" fmla="*/ 149028 h 304629"/>
                  <a:gd name="connsiteX1" fmla="*/ 244816 w 244815"/>
                  <a:gd name="connsiteY1" fmla="*/ 275334 h 304629"/>
                  <a:gd name="connsiteX2" fmla="*/ 222317 w 244815"/>
                  <a:gd name="connsiteY2" fmla="*/ 298056 h 304629"/>
                  <a:gd name="connsiteX3" fmla="*/ 205610 w 244815"/>
                  <a:gd name="connsiteY3" fmla="*/ 298056 h 304629"/>
                  <a:gd name="connsiteX4" fmla="*/ 184893 w 244815"/>
                  <a:gd name="connsiteY4" fmla="*/ 279567 h 304629"/>
                  <a:gd name="connsiteX5" fmla="*/ 181997 w 244815"/>
                  <a:gd name="connsiteY5" fmla="*/ 273998 h 304629"/>
                  <a:gd name="connsiteX6" fmla="*/ 176428 w 244815"/>
                  <a:gd name="connsiteY6" fmla="*/ 276448 h 304629"/>
                  <a:gd name="connsiteX7" fmla="*/ 126084 w 244815"/>
                  <a:gd name="connsiteY7" fmla="*/ 302957 h 304629"/>
                  <a:gd name="connsiteX8" fmla="*/ 50344 w 244815"/>
                  <a:gd name="connsiteY8" fmla="*/ 289146 h 304629"/>
                  <a:gd name="connsiteX9" fmla="*/ 2450 w 244815"/>
                  <a:gd name="connsiteY9" fmla="*/ 213406 h 304629"/>
                  <a:gd name="connsiteX10" fmla="*/ 0 w 244815"/>
                  <a:gd name="connsiteY10" fmla="*/ 186452 h 304629"/>
                  <a:gd name="connsiteX11" fmla="*/ 0 w 244815"/>
                  <a:gd name="connsiteY11" fmla="*/ 124747 h 304629"/>
                  <a:gd name="connsiteX12" fmla="*/ 107372 w 244815"/>
                  <a:gd name="connsiteY12" fmla="*/ 1114 h 304629"/>
                  <a:gd name="connsiteX13" fmla="*/ 123410 w 244815"/>
                  <a:gd name="connsiteY13" fmla="*/ 0 h 304629"/>
                  <a:gd name="connsiteX14" fmla="*/ 222317 w 244815"/>
                  <a:gd name="connsiteY14" fmla="*/ 0 h 304629"/>
                  <a:gd name="connsiteX15" fmla="*/ 244816 w 244815"/>
                  <a:gd name="connsiteY15" fmla="*/ 22722 h 304629"/>
                  <a:gd name="connsiteX16" fmla="*/ 244816 w 244815"/>
                  <a:gd name="connsiteY16" fmla="*/ 149028 h 304629"/>
                  <a:gd name="connsiteX17" fmla="*/ 184893 w 244815"/>
                  <a:gd name="connsiteY17" fmla="*/ 122965 h 304629"/>
                  <a:gd name="connsiteX18" fmla="*/ 185116 w 244815"/>
                  <a:gd name="connsiteY18" fmla="*/ 122965 h 304629"/>
                  <a:gd name="connsiteX19" fmla="*/ 185116 w 244815"/>
                  <a:gd name="connsiteY19" fmla="*/ 64601 h 304629"/>
                  <a:gd name="connsiteX20" fmla="*/ 177987 w 244815"/>
                  <a:gd name="connsiteY20" fmla="*/ 56582 h 304629"/>
                  <a:gd name="connsiteX21" fmla="*/ 124079 w 244815"/>
                  <a:gd name="connsiteY21" fmla="*/ 56582 h 304629"/>
                  <a:gd name="connsiteX22" fmla="*/ 60591 w 244815"/>
                  <a:gd name="connsiteY22" fmla="*/ 116505 h 304629"/>
                  <a:gd name="connsiteX23" fmla="*/ 60146 w 244815"/>
                  <a:gd name="connsiteY23" fmla="*/ 196031 h 304629"/>
                  <a:gd name="connsiteX24" fmla="*/ 81531 w 244815"/>
                  <a:gd name="connsiteY24" fmla="*/ 237910 h 304629"/>
                  <a:gd name="connsiteX25" fmla="*/ 134326 w 244815"/>
                  <a:gd name="connsiteY25" fmla="*/ 245930 h 304629"/>
                  <a:gd name="connsiteX26" fmla="*/ 185116 w 244815"/>
                  <a:gd name="connsiteY26" fmla="*/ 181329 h 304629"/>
                  <a:gd name="connsiteX27" fmla="*/ 184893 w 244815"/>
                  <a:gd name="connsiteY27" fmla="*/ 122965 h 30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44815" h="304629">
                    <a:moveTo>
                      <a:pt x="244816" y="149028"/>
                    </a:moveTo>
                    <a:cubicBezTo>
                      <a:pt x="244816" y="191130"/>
                      <a:pt x="244816" y="233232"/>
                      <a:pt x="244816" y="275334"/>
                    </a:cubicBezTo>
                    <a:cubicBezTo>
                      <a:pt x="244816" y="291596"/>
                      <a:pt x="238579" y="298056"/>
                      <a:pt x="222317" y="298056"/>
                    </a:cubicBezTo>
                    <a:cubicBezTo>
                      <a:pt x="216748" y="298056"/>
                      <a:pt x="211179" y="298056"/>
                      <a:pt x="205610" y="298056"/>
                    </a:cubicBezTo>
                    <a:cubicBezTo>
                      <a:pt x="193581" y="298056"/>
                      <a:pt x="186229" y="291596"/>
                      <a:pt x="184893" y="279567"/>
                    </a:cubicBezTo>
                    <a:cubicBezTo>
                      <a:pt x="184670" y="277339"/>
                      <a:pt x="184447" y="275112"/>
                      <a:pt x="181997" y="273998"/>
                    </a:cubicBezTo>
                    <a:cubicBezTo>
                      <a:pt x="179324" y="272884"/>
                      <a:pt x="177764" y="274889"/>
                      <a:pt x="176428" y="276448"/>
                    </a:cubicBezTo>
                    <a:cubicBezTo>
                      <a:pt x="163508" y="292487"/>
                      <a:pt x="145909" y="300061"/>
                      <a:pt x="126084" y="302957"/>
                    </a:cubicBezTo>
                    <a:cubicBezTo>
                      <a:pt x="99352" y="306967"/>
                      <a:pt x="73512" y="304294"/>
                      <a:pt x="50344" y="289146"/>
                    </a:cubicBezTo>
                    <a:cubicBezTo>
                      <a:pt x="22722" y="271325"/>
                      <a:pt x="8910" y="244816"/>
                      <a:pt x="2450" y="213406"/>
                    </a:cubicBezTo>
                    <a:cubicBezTo>
                      <a:pt x="668" y="204496"/>
                      <a:pt x="0" y="195363"/>
                      <a:pt x="0" y="186452"/>
                    </a:cubicBezTo>
                    <a:cubicBezTo>
                      <a:pt x="223" y="165958"/>
                      <a:pt x="0" y="145241"/>
                      <a:pt x="0" y="124747"/>
                    </a:cubicBezTo>
                    <a:cubicBezTo>
                      <a:pt x="0" y="60814"/>
                      <a:pt x="44107" y="10024"/>
                      <a:pt x="107372" y="1114"/>
                    </a:cubicBezTo>
                    <a:cubicBezTo>
                      <a:pt x="112718" y="446"/>
                      <a:pt x="118064" y="0"/>
                      <a:pt x="123410" y="0"/>
                    </a:cubicBezTo>
                    <a:cubicBezTo>
                      <a:pt x="156379" y="0"/>
                      <a:pt x="189348" y="0"/>
                      <a:pt x="222317" y="0"/>
                    </a:cubicBezTo>
                    <a:cubicBezTo>
                      <a:pt x="238356" y="0"/>
                      <a:pt x="244816" y="6460"/>
                      <a:pt x="244816" y="22722"/>
                    </a:cubicBezTo>
                    <a:cubicBezTo>
                      <a:pt x="244816" y="64824"/>
                      <a:pt x="244816" y="106926"/>
                      <a:pt x="244816" y="149028"/>
                    </a:cubicBezTo>
                    <a:moveTo>
                      <a:pt x="184893" y="122965"/>
                    </a:moveTo>
                    <a:lnTo>
                      <a:pt x="185116" y="122965"/>
                    </a:lnTo>
                    <a:cubicBezTo>
                      <a:pt x="185116" y="103585"/>
                      <a:pt x="185116" y="83981"/>
                      <a:pt x="185116" y="64601"/>
                    </a:cubicBezTo>
                    <a:cubicBezTo>
                      <a:pt x="185116" y="58141"/>
                      <a:pt x="183556" y="56582"/>
                      <a:pt x="177987" y="56582"/>
                    </a:cubicBezTo>
                    <a:cubicBezTo>
                      <a:pt x="159943" y="56582"/>
                      <a:pt x="142122" y="56136"/>
                      <a:pt x="124079" y="56582"/>
                    </a:cubicBezTo>
                    <a:cubicBezTo>
                      <a:pt x="90219" y="57473"/>
                      <a:pt x="63042" y="82645"/>
                      <a:pt x="60591" y="116505"/>
                    </a:cubicBezTo>
                    <a:cubicBezTo>
                      <a:pt x="58586" y="143014"/>
                      <a:pt x="59700" y="169522"/>
                      <a:pt x="60146" y="196031"/>
                    </a:cubicBezTo>
                    <a:cubicBezTo>
                      <a:pt x="60591" y="212961"/>
                      <a:pt x="67274" y="227886"/>
                      <a:pt x="81531" y="237910"/>
                    </a:cubicBezTo>
                    <a:cubicBezTo>
                      <a:pt x="97570" y="249494"/>
                      <a:pt x="115836" y="249940"/>
                      <a:pt x="134326" y="245930"/>
                    </a:cubicBezTo>
                    <a:cubicBezTo>
                      <a:pt x="162839" y="239470"/>
                      <a:pt x="184002" y="212293"/>
                      <a:pt x="185116" y="181329"/>
                    </a:cubicBezTo>
                    <a:cubicBezTo>
                      <a:pt x="185338" y="161948"/>
                      <a:pt x="184893" y="142345"/>
                      <a:pt x="184893" y="122965"/>
                    </a:cubicBezTo>
                  </a:path>
                </a:pathLst>
              </a:custGeom>
              <a:grpFill/>
              <a:ln w="2224" cap="flat">
                <a:noFill/>
                <a:prstDash val="solid"/>
                <a:miter/>
              </a:ln>
            </p:spPr>
            <p:txBody>
              <a:bodyPr rtlCol="0" anchor="ctr"/>
              <a:lstStyle/>
              <a:p>
                <a:endParaRPr lang="nl-NL"/>
              </a:p>
            </p:txBody>
          </p:sp>
          <p:sp>
            <p:nvSpPr>
              <p:cNvPr id="23" name="Graphic 13">
                <a:extLst>
                  <a:ext uri="{FF2B5EF4-FFF2-40B4-BE49-F238E27FC236}">
                    <a16:creationId xmlns:a16="http://schemas.microsoft.com/office/drawing/2014/main" id="{E12358EF-71EF-4EA3-B0CB-C9D66466BE4E}"/>
                  </a:ext>
                </a:extLst>
              </p:cNvPr>
              <p:cNvSpPr/>
              <p:nvPr/>
            </p:nvSpPr>
            <p:spPr>
              <a:xfrm>
                <a:off x="2004481" y="1559621"/>
                <a:ext cx="235169" cy="311281"/>
              </a:xfrm>
              <a:custGeom>
                <a:avLst/>
                <a:gdLst>
                  <a:gd name="connsiteX0" fmla="*/ 142178 w 235169"/>
                  <a:gd name="connsiteY0" fmla="*/ 177180 h 311281"/>
                  <a:gd name="connsiteX1" fmla="*/ 69335 w 235169"/>
                  <a:gd name="connsiteY1" fmla="*/ 177180 h 311281"/>
                  <a:gd name="connsiteX2" fmla="*/ 60424 w 235169"/>
                  <a:gd name="connsiteY2" fmla="*/ 186313 h 311281"/>
                  <a:gd name="connsiteX3" fmla="*/ 63098 w 235169"/>
                  <a:gd name="connsiteY3" fmla="*/ 215495 h 311281"/>
                  <a:gd name="connsiteX4" fmla="*/ 117229 w 235169"/>
                  <a:gd name="connsiteY4" fmla="*/ 255146 h 311281"/>
                  <a:gd name="connsiteX5" fmla="*/ 182053 w 235169"/>
                  <a:gd name="connsiteY5" fmla="*/ 229306 h 311281"/>
                  <a:gd name="connsiteX6" fmla="*/ 210343 w 235169"/>
                  <a:gd name="connsiteY6" fmla="*/ 228861 h 311281"/>
                  <a:gd name="connsiteX7" fmla="*/ 221036 w 235169"/>
                  <a:gd name="connsiteY7" fmla="*/ 238439 h 311281"/>
                  <a:gd name="connsiteX8" fmla="*/ 224377 w 235169"/>
                  <a:gd name="connsiteY8" fmla="*/ 264280 h 311281"/>
                  <a:gd name="connsiteX9" fmla="*/ 217249 w 235169"/>
                  <a:gd name="connsiteY9" fmla="*/ 272745 h 311281"/>
                  <a:gd name="connsiteX10" fmla="*/ 130595 w 235169"/>
                  <a:gd name="connsiteY10" fmla="*/ 311060 h 311281"/>
                  <a:gd name="connsiteX11" fmla="*/ 42158 w 235169"/>
                  <a:gd name="connsiteY11" fmla="*/ 285219 h 311281"/>
                  <a:gd name="connsiteX12" fmla="*/ 501 w 235169"/>
                  <a:gd name="connsiteY12" fmla="*/ 198565 h 311281"/>
                  <a:gd name="connsiteX13" fmla="*/ 501 w 235169"/>
                  <a:gd name="connsiteY13" fmla="*/ 114138 h 311281"/>
                  <a:gd name="connsiteX14" fmla="*/ 68444 w 235169"/>
                  <a:gd name="connsiteY14" fmla="*/ 8994 h 311281"/>
                  <a:gd name="connsiteX15" fmla="*/ 211457 w 235169"/>
                  <a:gd name="connsiteY15" fmla="*/ 44191 h 311281"/>
                  <a:gd name="connsiteX16" fmla="*/ 235070 w 235169"/>
                  <a:gd name="connsiteY16" fmla="*/ 113247 h 311281"/>
                  <a:gd name="connsiteX17" fmla="*/ 235070 w 235169"/>
                  <a:gd name="connsiteY17" fmla="*/ 156686 h 311281"/>
                  <a:gd name="connsiteX18" fmla="*/ 214576 w 235169"/>
                  <a:gd name="connsiteY18" fmla="*/ 177180 h 311281"/>
                  <a:gd name="connsiteX19" fmla="*/ 142178 w 235169"/>
                  <a:gd name="connsiteY19" fmla="*/ 177180 h 311281"/>
                  <a:gd name="connsiteX20" fmla="*/ 117674 w 235169"/>
                  <a:gd name="connsiteY20" fmla="*/ 127281 h 311281"/>
                  <a:gd name="connsiteX21" fmla="*/ 168241 w 235169"/>
                  <a:gd name="connsiteY21" fmla="*/ 127281 h 311281"/>
                  <a:gd name="connsiteX22" fmla="*/ 175815 w 235169"/>
                  <a:gd name="connsiteY22" fmla="*/ 119707 h 311281"/>
                  <a:gd name="connsiteX23" fmla="*/ 174701 w 235169"/>
                  <a:gd name="connsiteY23" fmla="*/ 104782 h 311281"/>
                  <a:gd name="connsiteX24" fmla="*/ 138837 w 235169"/>
                  <a:gd name="connsiteY24" fmla="*/ 59784 h 311281"/>
                  <a:gd name="connsiteX25" fmla="*/ 101413 w 235169"/>
                  <a:gd name="connsiteY25" fmla="*/ 58225 h 311281"/>
                  <a:gd name="connsiteX26" fmla="*/ 66662 w 235169"/>
                  <a:gd name="connsiteY26" fmla="*/ 85624 h 311281"/>
                  <a:gd name="connsiteX27" fmla="*/ 60202 w 235169"/>
                  <a:gd name="connsiteY27" fmla="*/ 119707 h 311281"/>
                  <a:gd name="connsiteX28" fmla="*/ 68221 w 235169"/>
                  <a:gd name="connsiteY28" fmla="*/ 127504 h 311281"/>
                  <a:gd name="connsiteX29" fmla="*/ 117674 w 235169"/>
                  <a:gd name="connsiteY29" fmla="*/ 127281 h 31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35169" h="311281">
                    <a:moveTo>
                      <a:pt x="142178" y="177180"/>
                    </a:moveTo>
                    <a:cubicBezTo>
                      <a:pt x="117897" y="177180"/>
                      <a:pt x="93616" y="177180"/>
                      <a:pt x="69335" y="177180"/>
                    </a:cubicBezTo>
                    <a:cubicBezTo>
                      <a:pt x="61761" y="177180"/>
                      <a:pt x="60424" y="178516"/>
                      <a:pt x="60424" y="186313"/>
                    </a:cubicBezTo>
                    <a:cubicBezTo>
                      <a:pt x="60424" y="196114"/>
                      <a:pt x="60202" y="205916"/>
                      <a:pt x="63098" y="215495"/>
                    </a:cubicBezTo>
                    <a:cubicBezTo>
                      <a:pt x="70449" y="240222"/>
                      <a:pt x="90052" y="253810"/>
                      <a:pt x="117229" y="255146"/>
                    </a:cubicBezTo>
                    <a:cubicBezTo>
                      <a:pt x="143069" y="256260"/>
                      <a:pt x="164232" y="247795"/>
                      <a:pt x="182053" y="229306"/>
                    </a:cubicBezTo>
                    <a:cubicBezTo>
                      <a:pt x="191186" y="219727"/>
                      <a:pt x="200542" y="219950"/>
                      <a:pt x="210343" y="228861"/>
                    </a:cubicBezTo>
                    <a:cubicBezTo>
                      <a:pt x="213908" y="231979"/>
                      <a:pt x="217472" y="235321"/>
                      <a:pt x="221036" y="238439"/>
                    </a:cubicBezTo>
                    <a:cubicBezTo>
                      <a:pt x="229278" y="246013"/>
                      <a:pt x="230615" y="254924"/>
                      <a:pt x="224377" y="264280"/>
                    </a:cubicBezTo>
                    <a:cubicBezTo>
                      <a:pt x="222373" y="267398"/>
                      <a:pt x="219922" y="270294"/>
                      <a:pt x="217249" y="272745"/>
                    </a:cubicBezTo>
                    <a:cubicBezTo>
                      <a:pt x="193191" y="296358"/>
                      <a:pt x="164454" y="309501"/>
                      <a:pt x="130595" y="311060"/>
                    </a:cubicBezTo>
                    <a:cubicBezTo>
                      <a:pt x="98071" y="312619"/>
                      <a:pt x="67998" y="306159"/>
                      <a:pt x="42158" y="285219"/>
                    </a:cubicBezTo>
                    <a:cubicBezTo>
                      <a:pt x="14758" y="262943"/>
                      <a:pt x="1392" y="233539"/>
                      <a:pt x="501" y="198565"/>
                    </a:cubicBezTo>
                    <a:cubicBezTo>
                      <a:pt x="-167" y="170497"/>
                      <a:pt x="-167" y="142206"/>
                      <a:pt x="501" y="114138"/>
                    </a:cubicBezTo>
                    <a:cubicBezTo>
                      <a:pt x="1615" y="66689"/>
                      <a:pt x="23891" y="26815"/>
                      <a:pt x="68444" y="8994"/>
                    </a:cubicBezTo>
                    <a:cubicBezTo>
                      <a:pt x="112551" y="-8604"/>
                      <a:pt x="176038" y="-2144"/>
                      <a:pt x="211457" y="44191"/>
                    </a:cubicBezTo>
                    <a:cubicBezTo>
                      <a:pt x="227051" y="64462"/>
                      <a:pt x="234625" y="87852"/>
                      <a:pt x="235070" y="113247"/>
                    </a:cubicBezTo>
                    <a:cubicBezTo>
                      <a:pt x="235293" y="127726"/>
                      <a:pt x="235070" y="142206"/>
                      <a:pt x="235070" y="156686"/>
                    </a:cubicBezTo>
                    <a:cubicBezTo>
                      <a:pt x="235070" y="170274"/>
                      <a:pt x="228164" y="177180"/>
                      <a:pt x="214576" y="177180"/>
                    </a:cubicBezTo>
                    <a:cubicBezTo>
                      <a:pt x="190740" y="177402"/>
                      <a:pt x="166459" y="177180"/>
                      <a:pt x="142178" y="177180"/>
                    </a:cubicBezTo>
                    <a:moveTo>
                      <a:pt x="117674" y="127281"/>
                    </a:moveTo>
                    <a:cubicBezTo>
                      <a:pt x="134604" y="127281"/>
                      <a:pt x="151311" y="127281"/>
                      <a:pt x="168241" y="127281"/>
                    </a:cubicBezTo>
                    <a:cubicBezTo>
                      <a:pt x="174033" y="127281"/>
                      <a:pt x="175593" y="125499"/>
                      <a:pt x="175815" y="119707"/>
                    </a:cubicBezTo>
                    <a:cubicBezTo>
                      <a:pt x="176038" y="114806"/>
                      <a:pt x="175815" y="109683"/>
                      <a:pt x="174701" y="104782"/>
                    </a:cubicBezTo>
                    <a:cubicBezTo>
                      <a:pt x="170469" y="83619"/>
                      <a:pt x="161113" y="66467"/>
                      <a:pt x="138837" y="59784"/>
                    </a:cubicBezTo>
                    <a:cubicBezTo>
                      <a:pt x="126585" y="56220"/>
                      <a:pt x="114110" y="56220"/>
                      <a:pt x="101413" y="58225"/>
                    </a:cubicBezTo>
                    <a:cubicBezTo>
                      <a:pt x="84705" y="60898"/>
                      <a:pt x="73345" y="70031"/>
                      <a:pt x="66662" y="85624"/>
                    </a:cubicBezTo>
                    <a:cubicBezTo>
                      <a:pt x="61984" y="96540"/>
                      <a:pt x="59979" y="107901"/>
                      <a:pt x="60202" y="119707"/>
                    </a:cubicBezTo>
                    <a:cubicBezTo>
                      <a:pt x="60424" y="125944"/>
                      <a:pt x="61761" y="127504"/>
                      <a:pt x="68221" y="127504"/>
                    </a:cubicBezTo>
                    <a:cubicBezTo>
                      <a:pt x="84928" y="127281"/>
                      <a:pt x="101413" y="127281"/>
                      <a:pt x="117674" y="127281"/>
                    </a:cubicBezTo>
                  </a:path>
                </a:pathLst>
              </a:custGeom>
              <a:grpFill/>
              <a:ln w="2224" cap="flat">
                <a:noFill/>
                <a:prstDash val="solid"/>
                <a:miter/>
              </a:ln>
            </p:spPr>
            <p:txBody>
              <a:bodyPr rtlCol="0" anchor="ctr"/>
              <a:lstStyle/>
              <a:p>
                <a:endParaRPr lang="nl-NL"/>
              </a:p>
            </p:txBody>
          </p:sp>
          <p:sp>
            <p:nvSpPr>
              <p:cNvPr id="24" name="Graphic 13">
                <a:extLst>
                  <a:ext uri="{FF2B5EF4-FFF2-40B4-BE49-F238E27FC236}">
                    <a16:creationId xmlns:a16="http://schemas.microsoft.com/office/drawing/2014/main" id="{B88AD1A0-5436-4E21-A7C0-3335A09EC52A}"/>
                  </a:ext>
                </a:extLst>
              </p:cNvPr>
              <p:cNvSpPr/>
              <p:nvPr/>
            </p:nvSpPr>
            <p:spPr>
              <a:xfrm>
                <a:off x="2003393" y="1130406"/>
                <a:ext cx="235998" cy="311136"/>
              </a:xfrm>
              <a:custGeom>
                <a:avLst/>
                <a:gdLst>
                  <a:gd name="connsiteX0" fmla="*/ 143043 w 235998"/>
                  <a:gd name="connsiteY0" fmla="*/ 176908 h 311136"/>
                  <a:gd name="connsiteX1" fmla="*/ 69754 w 235998"/>
                  <a:gd name="connsiteY1" fmla="*/ 176908 h 311136"/>
                  <a:gd name="connsiteX2" fmla="*/ 60398 w 235998"/>
                  <a:gd name="connsiteY2" fmla="*/ 186264 h 311136"/>
                  <a:gd name="connsiteX3" fmla="*/ 62403 w 235998"/>
                  <a:gd name="connsiteY3" fmla="*/ 212773 h 311136"/>
                  <a:gd name="connsiteX4" fmla="*/ 112970 w 235998"/>
                  <a:gd name="connsiteY4" fmla="*/ 254430 h 311136"/>
                  <a:gd name="connsiteX5" fmla="*/ 182027 w 235998"/>
                  <a:gd name="connsiteY5" fmla="*/ 228812 h 311136"/>
                  <a:gd name="connsiteX6" fmla="*/ 209872 w 235998"/>
                  <a:gd name="connsiteY6" fmla="*/ 228144 h 311136"/>
                  <a:gd name="connsiteX7" fmla="*/ 220564 w 235998"/>
                  <a:gd name="connsiteY7" fmla="*/ 237722 h 311136"/>
                  <a:gd name="connsiteX8" fmla="*/ 223683 w 235998"/>
                  <a:gd name="connsiteY8" fmla="*/ 264899 h 311136"/>
                  <a:gd name="connsiteX9" fmla="*/ 200739 w 235998"/>
                  <a:gd name="connsiteY9" fmla="*/ 286507 h 311136"/>
                  <a:gd name="connsiteX10" fmla="*/ 44582 w 235998"/>
                  <a:gd name="connsiteY10" fmla="*/ 286953 h 311136"/>
                  <a:gd name="connsiteX11" fmla="*/ 921 w 235998"/>
                  <a:gd name="connsiteY11" fmla="*/ 201412 h 311136"/>
                  <a:gd name="connsiteX12" fmla="*/ 921 w 235998"/>
                  <a:gd name="connsiteY12" fmla="*/ 109634 h 311136"/>
                  <a:gd name="connsiteX13" fmla="*/ 103837 w 235998"/>
                  <a:gd name="connsiteY13" fmla="*/ 480 h 311136"/>
                  <a:gd name="connsiteX14" fmla="*/ 200293 w 235998"/>
                  <a:gd name="connsiteY14" fmla="*/ 31222 h 311136"/>
                  <a:gd name="connsiteX15" fmla="*/ 234599 w 235998"/>
                  <a:gd name="connsiteY15" fmla="*/ 100278 h 311136"/>
                  <a:gd name="connsiteX16" fmla="*/ 235712 w 235998"/>
                  <a:gd name="connsiteY16" fmla="*/ 158642 h 311136"/>
                  <a:gd name="connsiteX17" fmla="*/ 216555 w 235998"/>
                  <a:gd name="connsiteY17" fmla="*/ 176686 h 311136"/>
                  <a:gd name="connsiteX18" fmla="*/ 143043 w 235998"/>
                  <a:gd name="connsiteY18" fmla="*/ 176908 h 311136"/>
                  <a:gd name="connsiteX19" fmla="*/ 118094 w 235998"/>
                  <a:gd name="connsiteY19" fmla="*/ 127232 h 311136"/>
                  <a:gd name="connsiteX20" fmla="*/ 137474 w 235998"/>
                  <a:gd name="connsiteY20" fmla="*/ 127232 h 311136"/>
                  <a:gd name="connsiteX21" fmla="*/ 167547 w 235998"/>
                  <a:gd name="connsiteY21" fmla="*/ 127232 h 311136"/>
                  <a:gd name="connsiteX22" fmla="*/ 175789 w 235998"/>
                  <a:gd name="connsiteY22" fmla="*/ 118767 h 311136"/>
                  <a:gd name="connsiteX23" fmla="*/ 175567 w 235998"/>
                  <a:gd name="connsiteY23" fmla="*/ 109411 h 311136"/>
                  <a:gd name="connsiteX24" fmla="*/ 134133 w 235998"/>
                  <a:gd name="connsiteY24" fmla="*/ 58176 h 311136"/>
                  <a:gd name="connsiteX25" fmla="*/ 106956 w 235998"/>
                  <a:gd name="connsiteY25" fmla="*/ 57062 h 311136"/>
                  <a:gd name="connsiteX26" fmla="*/ 70868 w 235998"/>
                  <a:gd name="connsiteY26" fmla="*/ 77556 h 311136"/>
                  <a:gd name="connsiteX27" fmla="*/ 60398 w 235998"/>
                  <a:gd name="connsiteY27" fmla="*/ 117208 h 311136"/>
                  <a:gd name="connsiteX28" fmla="*/ 70423 w 235998"/>
                  <a:gd name="connsiteY28" fmla="*/ 127232 h 311136"/>
                  <a:gd name="connsiteX29" fmla="*/ 118094 w 235998"/>
                  <a:gd name="connsiteY29" fmla="*/ 127232 h 31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35998" h="311136">
                    <a:moveTo>
                      <a:pt x="143043" y="176908"/>
                    </a:moveTo>
                    <a:cubicBezTo>
                      <a:pt x="118539" y="176908"/>
                      <a:pt x="94035" y="176908"/>
                      <a:pt x="69754" y="176908"/>
                    </a:cubicBezTo>
                    <a:cubicBezTo>
                      <a:pt x="61735" y="176908"/>
                      <a:pt x="60621" y="178245"/>
                      <a:pt x="60398" y="186264"/>
                    </a:cubicBezTo>
                    <a:cubicBezTo>
                      <a:pt x="60398" y="195175"/>
                      <a:pt x="60176" y="204085"/>
                      <a:pt x="62403" y="212773"/>
                    </a:cubicBezTo>
                    <a:cubicBezTo>
                      <a:pt x="68641" y="237500"/>
                      <a:pt x="87130" y="252425"/>
                      <a:pt x="112970" y="254430"/>
                    </a:cubicBezTo>
                    <a:cubicBezTo>
                      <a:pt x="140147" y="256657"/>
                      <a:pt x="163315" y="248861"/>
                      <a:pt x="182027" y="228812"/>
                    </a:cubicBezTo>
                    <a:cubicBezTo>
                      <a:pt x="190937" y="219456"/>
                      <a:pt x="200293" y="219456"/>
                      <a:pt x="209872" y="228144"/>
                    </a:cubicBezTo>
                    <a:cubicBezTo>
                      <a:pt x="213436" y="231485"/>
                      <a:pt x="217000" y="234604"/>
                      <a:pt x="220564" y="237722"/>
                    </a:cubicBezTo>
                    <a:cubicBezTo>
                      <a:pt x="229475" y="245742"/>
                      <a:pt x="230589" y="254875"/>
                      <a:pt x="223683" y="264899"/>
                    </a:cubicBezTo>
                    <a:cubicBezTo>
                      <a:pt x="217446" y="273587"/>
                      <a:pt x="209204" y="280270"/>
                      <a:pt x="200739" y="286507"/>
                    </a:cubicBezTo>
                    <a:cubicBezTo>
                      <a:pt x="154850" y="321036"/>
                      <a:pt x="83566" y="317471"/>
                      <a:pt x="44582" y="286953"/>
                    </a:cubicBezTo>
                    <a:cubicBezTo>
                      <a:pt x="16960" y="265122"/>
                      <a:pt x="2257" y="236386"/>
                      <a:pt x="921" y="201412"/>
                    </a:cubicBezTo>
                    <a:cubicBezTo>
                      <a:pt x="-193" y="170894"/>
                      <a:pt x="-416" y="140375"/>
                      <a:pt x="921" y="109634"/>
                    </a:cubicBezTo>
                    <a:cubicBezTo>
                      <a:pt x="3594" y="42805"/>
                      <a:pt x="50151" y="4490"/>
                      <a:pt x="103837" y="480"/>
                    </a:cubicBezTo>
                    <a:cubicBezTo>
                      <a:pt x="140147" y="-2193"/>
                      <a:pt x="172893" y="6050"/>
                      <a:pt x="200293" y="31222"/>
                    </a:cubicBezTo>
                    <a:cubicBezTo>
                      <a:pt x="220342" y="49934"/>
                      <a:pt x="231034" y="73324"/>
                      <a:pt x="234599" y="100278"/>
                    </a:cubicBezTo>
                    <a:cubicBezTo>
                      <a:pt x="237049" y="119658"/>
                      <a:pt x="235490" y="139039"/>
                      <a:pt x="235712" y="158642"/>
                    </a:cubicBezTo>
                    <a:cubicBezTo>
                      <a:pt x="235712" y="169557"/>
                      <a:pt x="227916" y="176463"/>
                      <a:pt x="216555" y="176686"/>
                    </a:cubicBezTo>
                    <a:cubicBezTo>
                      <a:pt x="192051" y="176908"/>
                      <a:pt x="167547" y="176908"/>
                      <a:pt x="143043" y="176908"/>
                    </a:cubicBezTo>
                    <a:moveTo>
                      <a:pt x="118094" y="127232"/>
                    </a:moveTo>
                    <a:lnTo>
                      <a:pt x="137474" y="127232"/>
                    </a:lnTo>
                    <a:cubicBezTo>
                      <a:pt x="147498" y="127232"/>
                      <a:pt x="157523" y="127455"/>
                      <a:pt x="167547" y="127232"/>
                    </a:cubicBezTo>
                    <a:cubicBezTo>
                      <a:pt x="174007" y="127010"/>
                      <a:pt x="175567" y="125450"/>
                      <a:pt x="175789" y="118767"/>
                    </a:cubicBezTo>
                    <a:cubicBezTo>
                      <a:pt x="175789" y="115649"/>
                      <a:pt x="175789" y="112530"/>
                      <a:pt x="175567" y="109411"/>
                    </a:cubicBezTo>
                    <a:cubicBezTo>
                      <a:pt x="173339" y="87358"/>
                      <a:pt x="161978" y="63299"/>
                      <a:pt x="134133" y="58176"/>
                    </a:cubicBezTo>
                    <a:cubicBezTo>
                      <a:pt x="125222" y="56394"/>
                      <a:pt x="116089" y="55948"/>
                      <a:pt x="106956" y="57062"/>
                    </a:cubicBezTo>
                    <a:cubicBezTo>
                      <a:pt x="92031" y="58621"/>
                      <a:pt x="79110" y="63968"/>
                      <a:pt x="70868" y="77556"/>
                    </a:cubicBezTo>
                    <a:cubicBezTo>
                      <a:pt x="63517" y="89808"/>
                      <a:pt x="60398" y="103174"/>
                      <a:pt x="60398" y="117208"/>
                    </a:cubicBezTo>
                    <a:cubicBezTo>
                      <a:pt x="60398" y="125896"/>
                      <a:pt x="61512" y="127232"/>
                      <a:pt x="70423" y="127232"/>
                    </a:cubicBezTo>
                    <a:cubicBezTo>
                      <a:pt x="86239" y="127455"/>
                      <a:pt x="102278" y="127232"/>
                      <a:pt x="118094" y="127232"/>
                    </a:cubicBezTo>
                  </a:path>
                </a:pathLst>
              </a:custGeom>
              <a:grpFill/>
              <a:ln w="2224" cap="flat">
                <a:noFill/>
                <a:prstDash val="solid"/>
                <a:miter/>
              </a:ln>
            </p:spPr>
            <p:txBody>
              <a:bodyPr rtlCol="0" anchor="ctr"/>
              <a:lstStyle/>
              <a:p>
                <a:endParaRPr lang="nl-NL"/>
              </a:p>
            </p:txBody>
          </p:sp>
          <p:sp>
            <p:nvSpPr>
              <p:cNvPr id="25" name="Graphic 13">
                <a:extLst>
                  <a:ext uri="{FF2B5EF4-FFF2-40B4-BE49-F238E27FC236}">
                    <a16:creationId xmlns:a16="http://schemas.microsoft.com/office/drawing/2014/main" id="{24EA3C8A-2CC2-416F-88BD-FA200C0EFD33}"/>
                  </a:ext>
                </a:extLst>
              </p:cNvPr>
              <p:cNvSpPr/>
              <p:nvPr/>
            </p:nvSpPr>
            <p:spPr>
              <a:xfrm>
                <a:off x="1173187" y="1140242"/>
                <a:ext cx="244231" cy="304070"/>
              </a:xfrm>
              <a:custGeom>
                <a:avLst/>
                <a:gdLst>
                  <a:gd name="connsiteX0" fmla="*/ 244148 w 244231"/>
                  <a:gd name="connsiteY0" fmla="*/ 180215 h 304070"/>
                  <a:gd name="connsiteX1" fmla="*/ 244148 w 244231"/>
                  <a:gd name="connsiteY1" fmla="*/ 77299 h 304070"/>
                  <a:gd name="connsiteX2" fmla="*/ 244148 w 244231"/>
                  <a:gd name="connsiteY2" fmla="*/ 55691 h 304070"/>
                  <a:gd name="connsiteX3" fmla="*/ 244148 w 244231"/>
                  <a:gd name="connsiteY3" fmla="*/ 21385 h 304070"/>
                  <a:gd name="connsiteX4" fmla="*/ 244148 w 244231"/>
                  <a:gd name="connsiteY4" fmla="*/ 20494 h 304070"/>
                  <a:gd name="connsiteX5" fmla="*/ 244148 w 244231"/>
                  <a:gd name="connsiteY5" fmla="*/ 20049 h 304070"/>
                  <a:gd name="connsiteX6" fmla="*/ 242143 w 244231"/>
                  <a:gd name="connsiteY6" fmla="*/ 9802 h 304070"/>
                  <a:gd name="connsiteX7" fmla="*/ 242143 w 244231"/>
                  <a:gd name="connsiteY7" fmla="*/ 9802 h 304070"/>
                  <a:gd name="connsiteX8" fmla="*/ 241697 w 244231"/>
                  <a:gd name="connsiteY8" fmla="*/ 8910 h 304070"/>
                  <a:gd name="connsiteX9" fmla="*/ 236128 w 244231"/>
                  <a:gd name="connsiteY9" fmla="*/ 2896 h 304070"/>
                  <a:gd name="connsiteX10" fmla="*/ 236128 w 244231"/>
                  <a:gd name="connsiteY10" fmla="*/ 2896 h 304070"/>
                  <a:gd name="connsiteX11" fmla="*/ 235683 w 244231"/>
                  <a:gd name="connsiteY11" fmla="*/ 2673 h 304070"/>
                  <a:gd name="connsiteX12" fmla="*/ 224099 w 244231"/>
                  <a:gd name="connsiteY12" fmla="*/ 0 h 304070"/>
                  <a:gd name="connsiteX13" fmla="*/ 222985 w 244231"/>
                  <a:gd name="connsiteY13" fmla="*/ 0 h 304070"/>
                  <a:gd name="connsiteX14" fmla="*/ 222762 w 244231"/>
                  <a:gd name="connsiteY14" fmla="*/ 0 h 304070"/>
                  <a:gd name="connsiteX15" fmla="*/ 213406 w 244231"/>
                  <a:gd name="connsiteY15" fmla="*/ 0 h 304070"/>
                  <a:gd name="connsiteX16" fmla="*/ 203828 w 244231"/>
                  <a:gd name="connsiteY16" fmla="*/ 0 h 304070"/>
                  <a:gd name="connsiteX17" fmla="*/ 203605 w 244231"/>
                  <a:gd name="connsiteY17" fmla="*/ 0 h 304070"/>
                  <a:gd name="connsiteX18" fmla="*/ 202937 w 244231"/>
                  <a:gd name="connsiteY18" fmla="*/ 0 h 304070"/>
                  <a:gd name="connsiteX19" fmla="*/ 192467 w 244231"/>
                  <a:gd name="connsiteY19" fmla="*/ 1782 h 304070"/>
                  <a:gd name="connsiteX20" fmla="*/ 192021 w 244231"/>
                  <a:gd name="connsiteY20" fmla="*/ 2005 h 304070"/>
                  <a:gd name="connsiteX21" fmla="*/ 191130 w 244231"/>
                  <a:gd name="connsiteY21" fmla="*/ 2450 h 304070"/>
                  <a:gd name="connsiteX22" fmla="*/ 190016 w 244231"/>
                  <a:gd name="connsiteY22" fmla="*/ 2896 h 304070"/>
                  <a:gd name="connsiteX23" fmla="*/ 190016 w 244231"/>
                  <a:gd name="connsiteY23" fmla="*/ 2896 h 304070"/>
                  <a:gd name="connsiteX24" fmla="*/ 187120 w 244231"/>
                  <a:gd name="connsiteY24" fmla="*/ 5124 h 304070"/>
                  <a:gd name="connsiteX25" fmla="*/ 181774 w 244231"/>
                  <a:gd name="connsiteY25" fmla="*/ 20940 h 304070"/>
                  <a:gd name="connsiteX26" fmla="*/ 181774 w 244231"/>
                  <a:gd name="connsiteY26" fmla="*/ 79749 h 304070"/>
                  <a:gd name="connsiteX27" fmla="*/ 181774 w 244231"/>
                  <a:gd name="connsiteY27" fmla="*/ 187120 h 304070"/>
                  <a:gd name="connsiteX28" fmla="*/ 181106 w 244231"/>
                  <a:gd name="connsiteY28" fmla="*/ 196254 h 304070"/>
                  <a:gd name="connsiteX29" fmla="*/ 180883 w 244231"/>
                  <a:gd name="connsiteY29" fmla="*/ 197145 h 304070"/>
                  <a:gd name="connsiteX30" fmla="*/ 175314 w 244231"/>
                  <a:gd name="connsiteY30" fmla="*/ 215634 h 304070"/>
                  <a:gd name="connsiteX31" fmla="*/ 162171 w 244231"/>
                  <a:gd name="connsiteY31" fmla="*/ 233901 h 304070"/>
                  <a:gd name="connsiteX32" fmla="*/ 149474 w 244231"/>
                  <a:gd name="connsiteY32" fmla="*/ 242588 h 304070"/>
                  <a:gd name="connsiteX33" fmla="*/ 148805 w 244231"/>
                  <a:gd name="connsiteY33" fmla="*/ 242811 h 304070"/>
                  <a:gd name="connsiteX34" fmla="*/ 124079 w 244231"/>
                  <a:gd name="connsiteY34" fmla="*/ 247712 h 304070"/>
                  <a:gd name="connsiteX35" fmla="*/ 122074 w 244231"/>
                  <a:gd name="connsiteY35" fmla="*/ 247712 h 304070"/>
                  <a:gd name="connsiteX36" fmla="*/ 120069 w 244231"/>
                  <a:gd name="connsiteY36" fmla="*/ 247712 h 304070"/>
                  <a:gd name="connsiteX37" fmla="*/ 95342 w 244231"/>
                  <a:gd name="connsiteY37" fmla="*/ 242811 h 304070"/>
                  <a:gd name="connsiteX38" fmla="*/ 94674 w 244231"/>
                  <a:gd name="connsiteY38" fmla="*/ 242588 h 304070"/>
                  <a:gd name="connsiteX39" fmla="*/ 81977 w 244231"/>
                  <a:gd name="connsiteY39" fmla="*/ 233901 h 304070"/>
                  <a:gd name="connsiteX40" fmla="*/ 68834 w 244231"/>
                  <a:gd name="connsiteY40" fmla="*/ 215634 h 304070"/>
                  <a:gd name="connsiteX41" fmla="*/ 63265 w 244231"/>
                  <a:gd name="connsiteY41" fmla="*/ 197145 h 304070"/>
                  <a:gd name="connsiteX42" fmla="*/ 63042 w 244231"/>
                  <a:gd name="connsiteY42" fmla="*/ 196254 h 304070"/>
                  <a:gd name="connsiteX43" fmla="*/ 62373 w 244231"/>
                  <a:gd name="connsiteY43" fmla="*/ 187120 h 304070"/>
                  <a:gd name="connsiteX44" fmla="*/ 62373 w 244231"/>
                  <a:gd name="connsiteY44" fmla="*/ 79749 h 304070"/>
                  <a:gd name="connsiteX45" fmla="*/ 62373 w 244231"/>
                  <a:gd name="connsiteY45" fmla="*/ 20940 h 304070"/>
                  <a:gd name="connsiteX46" fmla="*/ 57027 w 244231"/>
                  <a:gd name="connsiteY46" fmla="*/ 5124 h 304070"/>
                  <a:gd name="connsiteX47" fmla="*/ 54131 w 244231"/>
                  <a:gd name="connsiteY47" fmla="*/ 2896 h 304070"/>
                  <a:gd name="connsiteX48" fmla="*/ 54131 w 244231"/>
                  <a:gd name="connsiteY48" fmla="*/ 2896 h 304070"/>
                  <a:gd name="connsiteX49" fmla="*/ 53018 w 244231"/>
                  <a:gd name="connsiteY49" fmla="*/ 2450 h 304070"/>
                  <a:gd name="connsiteX50" fmla="*/ 52126 w 244231"/>
                  <a:gd name="connsiteY50" fmla="*/ 2005 h 304070"/>
                  <a:gd name="connsiteX51" fmla="*/ 51681 w 244231"/>
                  <a:gd name="connsiteY51" fmla="*/ 1782 h 304070"/>
                  <a:gd name="connsiteX52" fmla="*/ 41211 w 244231"/>
                  <a:gd name="connsiteY52" fmla="*/ 0 h 304070"/>
                  <a:gd name="connsiteX53" fmla="*/ 40543 w 244231"/>
                  <a:gd name="connsiteY53" fmla="*/ 0 h 304070"/>
                  <a:gd name="connsiteX54" fmla="*/ 40320 w 244231"/>
                  <a:gd name="connsiteY54" fmla="*/ 0 h 304070"/>
                  <a:gd name="connsiteX55" fmla="*/ 30741 w 244231"/>
                  <a:gd name="connsiteY55" fmla="*/ 0 h 304070"/>
                  <a:gd name="connsiteX56" fmla="*/ 21385 w 244231"/>
                  <a:gd name="connsiteY56" fmla="*/ 0 h 304070"/>
                  <a:gd name="connsiteX57" fmla="*/ 21162 w 244231"/>
                  <a:gd name="connsiteY57" fmla="*/ 0 h 304070"/>
                  <a:gd name="connsiteX58" fmla="*/ 20049 w 244231"/>
                  <a:gd name="connsiteY58" fmla="*/ 0 h 304070"/>
                  <a:gd name="connsiteX59" fmla="*/ 8465 w 244231"/>
                  <a:gd name="connsiteY59" fmla="*/ 2673 h 304070"/>
                  <a:gd name="connsiteX60" fmla="*/ 8019 w 244231"/>
                  <a:gd name="connsiteY60" fmla="*/ 2896 h 304070"/>
                  <a:gd name="connsiteX61" fmla="*/ 8019 w 244231"/>
                  <a:gd name="connsiteY61" fmla="*/ 2896 h 304070"/>
                  <a:gd name="connsiteX62" fmla="*/ 2450 w 244231"/>
                  <a:gd name="connsiteY62" fmla="*/ 8910 h 304070"/>
                  <a:gd name="connsiteX63" fmla="*/ 2005 w 244231"/>
                  <a:gd name="connsiteY63" fmla="*/ 9802 h 304070"/>
                  <a:gd name="connsiteX64" fmla="*/ 2005 w 244231"/>
                  <a:gd name="connsiteY64" fmla="*/ 9802 h 304070"/>
                  <a:gd name="connsiteX65" fmla="*/ 0 w 244231"/>
                  <a:gd name="connsiteY65" fmla="*/ 20049 h 304070"/>
                  <a:gd name="connsiteX66" fmla="*/ 0 w 244231"/>
                  <a:gd name="connsiteY66" fmla="*/ 20494 h 304070"/>
                  <a:gd name="connsiteX67" fmla="*/ 0 w 244231"/>
                  <a:gd name="connsiteY67" fmla="*/ 21385 h 304070"/>
                  <a:gd name="connsiteX68" fmla="*/ 0 w 244231"/>
                  <a:gd name="connsiteY68" fmla="*/ 55691 h 304070"/>
                  <a:gd name="connsiteX69" fmla="*/ 0 w 244231"/>
                  <a:gd name="connsiteY69" fmla="*/ 77299 h 304070"/>
                  <a:gd name="connsiteX70" fmla="*/ 0 w 244231"/>
                  <a:gd name="connsiteY70" fmla="*/ 180215 h 304070"/>
                  <a:gd name="connsiteX71" fmla="*/ 668 w 244231"/>
                  <a:gd name="connsiteY71" fmla="*/ 198481 h 304070"/>
                  <a:gd name="connsiteX72" fmla="*/ 2228 w 244231"/>
                  <a:gd name="connsiteY72" fmla="*/ 208728 h 304070"/>
                  <a:gd name="connsiteX73" fmla="*/ 100911 w 244231"/>
                  <a:gd name="connsiteY73" fmla="*/ 302734 h 304070"/>
                  <a:gd name="connsiteX74" fmla="*/ 102025 w 244231"/>
                  <a:gd name="connsiteY74" fmla="*/ 302957 h 304070"/>
                  <a:gd name="connsiteX75" fmla="*/ 104030 w 244231"/>
                  <a:gd name="connsiteY75" fmla="*/ 303180 h 304070"/>
                  <a:gd name="connsiteX76" fmla="*/ 104698 w 244231"/>
                  <a:gd name="connsiteY76" fmla="*/ 303180 h 304070"/>
                  <a:gd name="connsiteX77" fmla="*/ 117619 w 244231"/>
                  <a:gd name="connsiteY77" fmla="*/ 304071 h 304070"/>
                  <a:gd name="connsiteX78" fmla="*/ 120292 w 244231"/>
                  <a:gd name="connsiteY78" fmla="*/ 304071 h 304070"/>
                  <a:gd name="connsiteX79" fmla="*/ 120960 w 244231"/>
                  <a:gd name="connsiteY79" fmla="*/ 304071 h 304070"/>
                  <a:gd name="connsiteX80" fmla="*/ 122074 w 244231"/>
                  <a:gd name="connsiteY80" fmla="*/ 304071 h 304070"/>
                  <a:gd name="connsiteX81" fmla="*/ 123188 w 244231"/>
                  <a:gd name="connsiteY81" fmla="*/ 304071 h 304070"/>
                  <a:gd name="connsiteX82" fmla="*/ 123856 w 244231"/>
                  <a:gd name="connsiteY82" fmla="*/ 304071 h 304070"/>
                  <a:gd name="connsiteX83" fmla="*/ 126529 w 244231"/>
                  <a:gd name="connsiteY83" fmla="*/ 304071 h 304070"/>
                  <a:gd name="connsiteX84" fmla="*/ 139449 w 244231"/>
                  <a:gd name="connsiteY84" fmla="*/ 303180 h 304070"/>
                  <a:gd name="connsiteX85" fmla="*/ 140118 w 244231"/>
                  <a:gd name="connsiteY85" fmla="*/ 303180 h 304070"/>
                  <a:gd name="connsiteX86" fmla="*/ 142122 w 244231"/>
                  <a:gd name="connsiteY86" fmla="*/ 302957 h 304070"/>
                  <a:gd name="connsiteX87" fmla="*/ 143236 w 244231"/>
                  <a:gd name="connsiteY87" fmla="*/ 302734 h 304070"/>
                  <a:gd name="connsiteX88" fmla="*/ 241920 w 244231"/>
                  <a:gd name="connsiteY88" fmla="*/ 208728 h 304070"/>
                  <a:gd name="connsiteX89" fmla="*/ 243479 w 244231"/>
                  <a:gd name="connsiteY89" fmla="*/ 198481 h 304070"/>
                  <a:gd name="connsiteX90" fmla="*/ 244148 w 244231"/>
                  <a:gd name="connsiteY90" fmla="*/ 180215 h 30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44231" h="304070">
                    <a:moveTo>
                      <a:pt x="244148" y="180215"/>
                    </a:moveTo>
                    <a:cubicBezTo>
                      <a:pt x="244148" y="145909"/>
                      <a:pt x="244148" y="111604"/>
                      <a:pt x="244148" y="77299"/>
                    </a:cubicBezTo>
                    <a:cubicBezTo>
                      <a:pt x="244148" y="70170"/>
                      <a:pt x="244148" y="62819"/>
                      <a:pt x="244148" y="55691"/>
                    </a:cubicBezTo>
                    <a:cubicBezTo>
                      <a:pt x="244148" y="44330"/>
                      <a:pt x="244148" y="32746"/>
                      <a:pt x="244148" y="21385"/>
                    </a:cubicBezTo>
                    <a:cubicBezTo>
                      <a:pt x="244148" y="21162"/>
                      <a:pt x="244148" y="20717"/>
                      <a:pt x="244148" y="20494"/>
                    </a:cubicBezTo>
                    <a:cubicBezTo>
                      <a:pt x="244148" y="20271"/>
                      <a:pt x="244148" y="20049"/>
                      <a:pt x="244148" y="20049"/>
                    </a:cubicBezTo>
                    <a:cubicBezTo>
                      <a:pt x="244148" y="16039"/>
                      <a:pt x="243479" y="12475"/>
                      <a:pt x="242143" y="9802"/>
                    </a:cubicBezTo>
                    <a:cubicBezTo>
                      <a:pt x="242143" y="9802"/>
                      <a:pt x="242143" y="9802"/>
                      <a:pt x="242143" y="9802"/>
                    </a:cubicBezTo>
                    <a:cubicBezTo>
                      <a:pt x="241920" y="9579"/>
                      <a:pt x="241920" y="9133"/>
                      <a:pt x="241697" y="8910"/>
                    </a:cubicBezTo>
                    <a:cubicBezTo>
                      <a:pt x="240361" y="6237"/>
                      <a:pt x="238579" y="4233"/>
                      <a:pt x="236128" y="2896"/>
                    </a:cubicBezTo>
                    <a:cubicBezTo>
                      <a:pt x="236128" y="2896"/>
                      <a:pt x="236128" y="2896"/>
                      <a:pt x="236128" y="2896"/>
                    </a:cubicBezTo>
                    <a:cubicBezTo>
                      <a:pt x="235905" y="2896"/>
                      <a:pt x="235905" y="2673"/>
                      <a:pt x="235683" y="2673"/>
                    </a:cubicBezTo>
                    <a:cubicBezTo>
                      <a:pt x="232564" y="891"/>
                      <a:pt x="228777" y="0"/>
                      <a:pt x="224099" y="0"/>
                    </a:cubicBezTo>
                    <a:lnTo>
                      <a:pt x="222985" y="0"/>
                    </a:lnTo>
                    <a:cubicBezTo>
                      <a:pt x="222985" y="0"/>
                      <a:pt x="222762" y="0"/>
                      <a:pt x="222762" y="0"/>
                    </a:cubicBezTo>
                    <a:lnTo>
                      <a:pt x="213406" y="0"/>
                    </a:lnTo>
                    <a:lnTo>
                      <a:pt x="203828" y="0"/>
                    </a:lnTo>
                    <a:cubicBezTo>
                      <a:pt x="203828" y="0"/>
                      <a:pt x="203605" y="0"/>
                      <a:pt x="203605" y="0"/>
                    </a:cubicBezTo>
                    <a:lnTo>
                      <a:pt x="202937" y="0"/>
                    </a:lnTo>
                    <a:cubicBezTo>
                      <a:pt x="198927" y="0"/>
                      <a:pt x="195363" y="668"/>
                      <a:pt x="192467" y="1782"/>
                    </a:cubicBezTo>
                    <a:cubicBezTo>
                      <a:pt x="192244" y="1782"/>
                      <a:pt x="192244" y="1782"/>
                      <a:pt x="192021" y="2005"/>
                    </a:cubicBezTo>
                    <a:cubicBezTo>
                      <a:pt x="191798" y="2228"/>
                      <a:pt x="191576" y="2228"/>
                      <a:pt x="191130" y="2450"/>
                    </a:cubicBezTo>
                    <a:cubicBezTo>
                      <a:pt x="190685" y="2673"/>
                      <a:pt x="190462" y="2896"/>
                      <a:pt x="190016" y="2896"/>
                    </a:cubicBezTo>
                    <a:cubicBezTo>
                      <a:pt x="190016" y="2896"/>
                      <a:pt x="190016" y="2896"/>
                      <a:pt x="190016" y="2896"/>
                    </a:cubicBezTo>
                    <a:cubicBezTo>
                      <a:pt x="188903" y="3564"/>
                      <a:pt x="188012" y="4233"/>
                      <a:pt x="187120" y="5124"/>
                    </a:cubicBezTo>
                    <a:cubicBezTo>
                      <a:pt x="183556" y="8688"/>
                      <a:pt x="181774" y="13811"/>
                      <a:pt x="181774" y="20940"/>
                    </a:cubicBezTo>
                    <a:cubicBezTo>
                      <a:pt x="181774" y="40543"/>
                      <a:pt x="181774" y="60146"/>
                      <a:pt x="181774" y="79749"/>
                    </a:cubicBezTo>
                    <a:cubicBezTo>
                      <a:pt x="181774" y="115614"/>
                      <a:pt x="181997" y="151256"/>
                      <a:pt x="181774" y="187120"/>
                    </a:cubicBezTo>
                    <a:cubicBezTo>
                      <a:pt x="181774" y="190239"/>
                      <a:pt x="181551" y="193358"/>
                      <a:pt x="181106" y="196254"/>
                    </a:cubicBezTo>
                    <a:cubicBezTo>
                      <a:pt x="181106" y="196477"/>
                      <a:pt x="181106" y="196922"/>
                      <a:pt x="180883" y="197145"/>
                    </a:cubicBezTo>
                    <a:cubicBezTo>
                      <a:pt x="179547" y="203605"/>
                      <a:pt x="177987" y="209842"/>
                      <a:pt x="175314" y="215634"/>
                    </a:cubicBezTo>
                    <a:cubicBezTo>
                      <a:pt x="172195" y="222317"/>
                      <a:pt x="167740" y="228332"/>
                      <a:pt x="162171" y="233901"/>
                    </a:cubicBezTo>
                    <a:cubicBezTo>
                      <a:pt x="158384" y="237688"/>
                      <a:pt x="153929" y="240361"/>
                      <a:pt x="149474" y="242588"/>
                    </a:cubicBezTo>
                    <a:cubicBezTo>
                      <a:pt x="149251" y="242588"/>
                      <a:pt x="149028" y="242811"/>
                      <a:pt x="148805" y="242811"/>
                    </a:cubicBezTo>
                    <a:cubicBezTo>
                      <a:pt x="141231" y="246153"/>
                      <a:pt x="132766" y="247489"/>
                      <a:pt x="124079" y="247712"/>
                    </a:cubicBezTo>
                    <a:cubicBezTo>
                      <a:pt x="123410" y="247712"/>
                      <a:pt x="122742" y="247712"/>
                      <a:pt x="122074" y="247712"/>
                    </a:cubicBezTo>
                    <a:cubicBezTo>
                      <a:pt x="121406" y="247712"/>
                      <a:pt x="120737" y="247712"/>
                      <a:pt x="120069" y="247712"/>
                    </a:cubicBezTo>
                    <a:cubicBezTo>
                      <a:pt x="111381" y="247489"/>
                      <a:pt x="102916" y="246153"/>
                      <a:pt x="95342" y="242811"/>
                    </a:cubicBezTo>
                    <a:cubicBezTo>
                      <a:pt x="95120" y="242811"/>
                      <a:pt x="94897" y="242588"/>
                      <a:pt x="94674" y="242588"/>
                    </a:cubicBezTo>
                    <a:cubicBezTo>
                      <a:pt x="89996" y="240583"/>
                      <a:pt x="85764" y="237688"/>
                      <a:pt x="81977" y="233901"/>
                    </a:cubicBezTo>
                    <a:cubicBezTo>
                      <a:pt x="76408" y="228332"/>
                      <a:pt x="71952" y="222317"/>
                      <a:pt x="68834" y="215634"/>
                    </a:cubicBezTo>
                    <a:cubicBezTo>
                      <a:pt x="66383" y="209842"/>
                      <a:pt x="64601" y="203605"/>
                      <a:pt x="63265" y="197145"/>
                    </a:cubicBezTo>
                    <a:cubicBezTo>
                      <a:pt x="63265" y="196922"/>
                      <a:pt x="63265" y="196477"/>
                      <a:pt x="63042" y="196254"/>
                    </a:cubicBezTo>
                    <a:cubicBezTo>
                      <a:pt x="62596" y="193358"/>
                      <a:pt x="62373" y="190239"/>
                      <a:pt x="62373" y="187120"/>
                    </a:cubicBezTo>
                    <a:cubicBezTo>
                      <a:pt x="62151" y="151256"/>
                      <a:pt x="62373" y="115614"/>
                      <a:pt x="62373" y="79749"/>
                    </a:cubicBezTo>
                    <a:cubicBezTo>
                      <a:pt x="62373" y="60146"/>
                      <a:pt x="62373" y="40543"/>
                      <a:pt x="62373" y="20940"/>
                    </a:cubicBezTo>
                    <a:cubicBezTo>
                      <a:pt x="62373" y="14034"/>
                      <a:pt x="60591" y="8688"/>
                      <a:pt x="57027" y="5124"/>
                    </a:cubicBezTo>
                    <a:cubicBezTo>
                      <a:pt x="56136" y="4233"/>
                      <a:pt x="55245" y="3564"/>
                      <a:pt x="54131" y="2896"/>
                    </a:cubicBezTo>
                    <a:cubicBezTo>
                      <a:pt x="54131" y="2896"/>
                      <a:pt x="54131" y="2896"/>
                      <a:pt x="54131" y="2896"/>
                    </a:cubicBezTo>
                    <a:cubicBezTo>
                      <a:pt x="53909" y="2673"/>
                      <a:pt x="53463" y="2450"/>
                      <a:pt x="53018" y="2450"/>
                    </a:cubicBezTo>
                    <a:cubicBezTo>
                      <a:pt x="52795" y="2228"/>
                      <a:pt x="52572" y="2228"/>
                      <a:pt x="52126" y="2005"/>
                    </a:cubicBezTo>
                    <a:cubicBezTo>
                      <a:pt x="52126" y="2005"/>
                      <a:pt x="51904" y="2005"/>
                      <a:pt x="51681" y="1782"/>
                    </a:cubicBezTo>
                    <a:cubicBezTo>
                      <a:pt x="48785" y="446"/>
                      <a:pt x="45221" y="0"/>
                      <a:pt x="41211" y="0"/>
                    </a:cubicBezTo>
                    <a:lnTo>
                      <a:pt x="40543" y="0"/>
                    </a:lnTo>
                    <a:cubicBezTo>
                      <a:pt x="40543" y="0"/>
                      <a:pt x="40320" y="0"/>
                      <a:pt x="40320" y="0"/>
                    </a:cubicBezTo>
                    <a:lnTo>
                      <a:pt x="30741" y="0"/>
                    </a:lnTo>
                    <a:lnTo>
                      <a:pt x="21385" y="0"/>
                    </a:lnTo>
                    <a:cubicBezTo>
                      <a:pt x="21385" y="0"/>
                      <a:pt x="21162" y="0"/>
                      <a:pt x="21162" y="0"/>
                    </a:cubicBezTo>
                    <a:lnTo>
                      <a:pt x="20049" y="0"/>
                    </a:lnTo>
                    <a:cubicBezTo>
                      <a:pt x="15371" y="0"/>
                      <a:pt x="11361" y="891"/>
                      <a:pt x="8465" y="2673"/>
                    </a:cubicBezTo>
                    <a:cubicBezTo>
                      <a:pt x="8242" y="2673"/>
                      <a:pt x="8242" y="2896"/>
                      <a:pt x="8019" y="2896"/>
                    </a:cubicBezTo>
                    <a:cubicBezTo>
                      <a:pt x="8019" y="2896"/>
                      <a:pt x="8019" y="2896"/>
                      <a:pt x="8019" y="2896"/>
                    </a:cubicBezTo>
                    <a:cubicBezTo>
                      <a:pt x="5569" y="4455"/>
                      <a:pt x="3787" y="6460"/>
                      <a:pt x="2450" y="8910"/>
                    </a:cubicBezTo>
                    <a:cubicBezTo>
                      <a:pt x="2228" y="9133"/>
                      <a:pt x="2228" y="9579"/>
                      <a:pt x="2005" y="9802"/>
                    </a:cubicBezTo>
                    <a:cubicBezTo>
                      <a:pt x="2005" y="9802"/>
                      <a:pt x="2005" y="9802"/>
                      <a:pt x="2005" y="9802"/>
                    </a:cubicBezTo>
                    <a:cubicBezTo>
                      <a:pt x="668" y="12697"/>
                      <a:pt x="0" y="16039"/>
                      <a:pt x="0" y="20049"/>
                    </a:cubicBezTo>
                    <a:cubicBezTo>
                      <a:pt x="0" y="20271"/>
                      <a:pt x="0" y="20494"/>
                      <a:pt x="0" y="20494"/>
                    </a:cubicBezTo>
                    <a:cubicBezTo>
                      <a:pt x="0" y="20717"/>
                      <a:pt x="0" y="20940"/>
                      <a:pt x="0" y="21385"/>
                    </a:cubicBezTo>
                    <a:cubicBezTo>
                      <a:pt x="0" y="32746"/>
                      <a:pt x="0" y="44330"/>
                      <a:pt x="0" y="55691"/>
                    </a:cubicBezTo>
                    <a:cubicBezTo>
                      <a:pt x="0" y="62819"/>
                      <a:pt x="0" y="70170"/>
                      <a:pt x="0" y="77299"/>
                    </a:cubicBezTo>
                    <a:cubicBezTo>
                      <a:pt x="0" y="111604"/>
                      <a:pt x="0" y="145909"/>
                      <a:pt x="0" y="180215"/>
                    </a:cubicBezTo>
                    <a:cubicBezTo>
                      <a:pt x="0" y="186229"/>
                      <a:pt x="0" y="192467"/>
                      <a:pt x="668" y="198481"/>
                    </a:cubicBezTo>
                    <a:cubicBezTo>
                      <a:pt x="1114" y="202046"/>
                      <a:pt x="1559" y="205387"/>
                      <a:pt x="2228" y="208728"/>
                    </a:cubicBezTo>
                    <a:cubicBezTo>
                      <a:pt x="11138" y="259741"/>
                      <a:pt x="50790" y="296051"/>
                      <a:pt x="100911" y="302734"/>
                    </a:cubicBezTo>
                    <a:cubicBezTo>
                      <a:pt x="101357" y="302734"/>
                      <a:pt x="101580" y="302734"/>
                      <a:pt x="102025" y="302957"/>
                    </a:cubicBezTo>
                    <a:cubicBezTo>
                      <a:pt x="102694" y="302957"/>
                      <a:pt x="103362" y="303180"/>
                      <a:pt x="104030" y="303180"/>
                    </a:cubicBezTo>
                    <a:cubicBezTo>
                      <a:pt x="104253" y="303180"/>
                      <a:pt x="104476" y="303180"/>
                      <a:pt x="104698" y="303180"/>
                    </a:cubicBezTo>
                    <a:cubicBezTo>
                      <a:pt x="108931" y="303625"/>
                      <a:pt x="113163" y="303848"/>
                      <a:pt x="117619" y="304071"/>
                    </a:cubicBezTo>
                    <a:cubicBezTo>
                      <a:pt x="118510" y="304071"/>
                      <a:pt x="119401" y="304071"/>
                      <a:pt x="120292" y="304071"/>
                    </a:cubicBezTo>
                    <a:cubicBezTo>
                      <a:pt x="120515" y="304071"/>
                      <a:pt x="120737" y="304071"/>
                      <a:pt x="120960" y="304071"/>
                    </a:cubicBezTo>
                    <a:cubicBezTo>
                      <a:pt x="121406" y="304071"/>
                      <a:pt x="121628" y="304071"/>
                      <a:pt x="122074" y="304071"/>
                    </a:cubicBezTo>
                    <a:cubicBezTo>
                      <a:pt x="122519" y="304071"/>
                      <a:pt x="122742" y="304071"/>
                      <a:pt x="123188" y="304071"/>
                    </a:cubicBezTo>
                    <a:cubicBezTo>
                      <a:pt x="123410" y="304071"/>
                      <a:pt x="123633" y="304071"/>
                      <a:pt x="123856" y="304071"/>
                    </a:cubicBezTo>
                    <a:cubicBezTo>
                      <a:pt x="124747" y="304071"/>
                      <a:pt x="125638" y="304071"/>
                      <a:pt x="126529" y="304071"/>
                    </a:cubicBezTo>
                    <a:cubicBezTo>
                      <a:pt x="130984" y="304071"/>
                      <a:pt x="135217" y="303625"/>
                      <a:pt x="139449" y="303180"/>
                    </a:cubicBezTo>
                    <a:cubicBezTo>
                      <a:pt x="139672" y="303180"/>
                      <a:pt x="139895" y="303180"/>
                      <a:pt x="140118" y="303180"/>
                    </a:cubicBezTo>
                    <a:cubicBezTo>
                      <a:pt x="140786" y="303180"/>
                      <a:pt x="141454" y="302957"/>
                      <a:pt x="142122" y="302957"/>
                    </a:cubicBezTo>
                    <a:cubicBezTo>
                      <a:pt x="142568" y="302957"/>
                      <a:pt x="143014" y="302957"/>
                      <a:pt x="143236" y="302734"/>
                    </a:cubicBezTo>
                    <a:cubicBezTo>
                      <a:pt x="193358" y="296051"/>
                      <a:pt x="233010" y="259741"/>
                      <a:pt x="241920" y="208728"/>
                    </a:cubicBezTo>
                    <a:cubicBezTo>
                      <a:pt x="242588" y="205387"/>
                      <a:pt x="243034" y="202046"/>
                      <a:pt x="243479" y="198481"/>
                    </a:cubicBezTo>
                    <a:cubicBezTo>
                      <a:pt x="244148" y="192467"/>
                      <a:pt x="244370" y="186229"/>
                      <a:pt x="244148" y="180215"/>
                    </a:cubicBezTo>
                    <a:close/>
                  </a:path>
                </a:pathLst>
              </a:custGeom>
              <a:grpFill/>
              <a:ln w="2224" cap="flat">
                <a:noFill/>
                <a:prstDash val="solid"/>
                <a:miter/>
              </a:ln>
            </p:spPr>
            <p:txBody>
              <a:bodyPr rtlCol="0" anchor="ctr"/>
              <a:lstStyle/>
              <a:p>
                <a:endParaRPr lang="nl-NL"/>
              </a:p>
            </p:txBody>
          </p:sp>
          <p:sp>
            <p:nvSpPr>
              <p:cNvPr id="26" name="Graphic 13">
                <a:extLst>
                  <a:ext uri="{FF2B5EF4-FFF2-40B4-BE49-F238E27FC236}">
                    <a16:creationId xmlns:a16="http://schemas.microsoft.com/office/drawing/2014/main" id="{F38B9FA6-9F76-45FD-9E57-5C797032D0B7}"/>
                  </a:ext>
                </a:extLst>
              </p:cNvPr>
              <p:cNvSpPr/>
              <p:nvPr/>
            </p:nvSpPr>
            <p:spPr>
              <a:xfrm>
                <a:off x="610655" y="1130302"/>
                <a:ext cx="188725" cy="311338"/>
              </a:xfrm>
              <a:custGeom>
                <a:avLst/>
                <a:gdLst>
                  <a:gd name="connsiteX0" fmla="*/ 87157 w 188725"/>
                  <a:gd name="connsiteY0" fmla="*/ 311338 h 311338"/>
                  <a:gd name="connsiteX1" fmla="*/ 26788 w 188725"/>
                  <a:gd name="connsiteY1" fmla="*/ 297750 h 311338"/>
                  <a:gd name="connsiteX2" fmla="*/ 5403 w 188725"/>
                  <a:gd name="connsiteY2" fmla="*/ 280374 h 311338"/>
                  <a:gd name="connsiteX3" fmla="*/ 5626 w 188725"/>
                  <a:gd name="connsiteY3" fmla="*/ 252752 h 311338"/>
                  <a:gd name="connsiteX4" fmla="*/ 16987 w 188725"/>
                  <a:gd name="connsiteY4" fmla="*/ 238940 h 311338"/>
                  <a:gd name="connsiteX5" fmla="*/ 40822 w 188725"/>
                  <a:gd name="connsiteY5" fmla="*/ 235822 h 311338"/>
                  <a:gd name="connsiteX6" fmla="*/ 59757 w 188725"/>
                  <a:gd name="connsiteY6" fmla="*/ 248519 h 311338"/>
                  <a:gd name="connsiteX7" fmla="*/ 112329 w 188725"/>
                  <a:gd name="connsiteY7" fmla="*/ 249410 h 311338"/>
                  <a:gd name="connsiteX8" fmla="*/ 117453 w 188725"/>
                  <a:gd name="connsiteY8" fmla="*/ 203298 h 311338"/>
                  <a:gd name="connsiteX9" fmla="*/ 82925 w 188725"/>
                  <a:gd name="connsiteY9" fmla="*/ 182359 h 311338"/>
                  <a:gd name="connsiteX10" fmla="*/ 35031 w 188725"/>
                  <a:gd name="connsiteY10" fmla="*/ 152731 h 311338"/>
                  <a:gd name="connsiteX11" fmla="*/ 8076 w 188725"/>
                  <a:gd name="connsiteY11" fmla="*/ 65408 h 311338"/>
                  <a:gd name="connsiteX12" fmla="*/ 72009 w 188725"/>
                  <a:gd name="connsiteY12" fmla="*/ 3703 h 311338"/>
                  <a:gd name="connsiteX13" fmla="*/ 168243 w 188725"/>
                  <a:gd name="connsiteY13" fmla="*/ 22861 h 311338"/>
                  <a:gd name="connsiteX14" fmla="*/ 181386 w 188725"/>
                  <a:gd name="connsiteY14" fmla="*/ 39568 h 311338"/>
                  <a:gd name="connsiteX15" fmla="*/ 177376 w 188725"/>
                  <a:gd name="connsiteY15" fmla="*/ 57166 h 311338"/>
                  <a:gd name="connsiteX16" fmla="*/ 163119 w 188725"/>
                  <a:gd name="connsiteY16" fmla="*/ 72091 h 311338"/>
                  <a:gd name="connsiteX17" fmla="*/ 138170 w 188725"/>
                  <a:gd name="connsiteY17" fmla="*/ 72537 h 311338"/>
                  <a:gd name="connsiteX18" fmla="*/ 83147 w 188725"/>
                  <a:gd name="connsiteY18" fmla="*/ 59171 h 311338"/>
                  <a:gd name="connsiteX19" fmla="*/ 63544 w 188725"/>
                  <a:gd name="connsiteY19" fmla="*/ 80556 h 311338"/>
                  <a:gd name="connsiteX20" fmla="*/ 73123 w 188725"/>
                  <a:gd name="connsiteY20" fmla="*/ 108402 h 311338"/>
                  <a:gd name="connsiteX21" fmla="*/ 109656 w 188725"/>
                  <a:gd name="connsiteY21" fmla="*/ 129118 h 311338"/>
                  <a:gd name="connsiteX22" fmla="*/ 160669 w 188725"/>
                  <a:gd name="connsiteY22" fmla="*/ 160082 h 311338"/>
                  <a:gd name="connsiteX23" fmla="*/ 141957 w 188725"/>
                  <a:gd name="connsiteY23" fmla="*/ 298641 h 311338"/>
                  <a:gd name="connsiteX24" fmla="*/ 87157 w 188725"/>
                  <a:gd name="connsiteY24" fmla="*/ 311338 h 31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8725" h="311338">
                    <a:moveTo>
                      <a:pt x="87157" y="311338"/>
                    </a:moveTo>
                    <a:cubicBezTo>
                      <a:pt x="65326" y="310893"/>
                      <a:pt x="45055" y="308220"/>
                      <a:pt x="26788" y="297750"/>
                    </a:cubicBezTo>
                    <a:cubicBezTo>
                      <a:pt x="18769" y="293072"/>
                      <a:pt x="11418" y="287503"/>
                      <a:pt x="5403" y="280374"/>
                    </a:cubicBezTo>
                    <a:cubicBezTo>
                      <a:pt x="-1948" y="271686"/>
                      <a:pt x="-1725" y="261217"/>
                      <a:pt x="5626" y="252752"/>
                    </a:cubicBezTo>
                    <a:cubicBezTo>
                      <a:pt x="9413" y="248296"/>
                      <a:pt x="13200" y="243618"/>
                      <a:pt x="16987" y="238940"/>
                    </a:cubicBezTo>
                    <a:cubicBezTo>
                      <a:pt x="24115" y="230475"/>
                      <a:pt x="31689" y="229362"/>
                      <a:pt x="40822" y="235822"/>
                    </a:cubicBezTo>
                    <a:cubicBezTo>
                      <a:pt x="47060" y="240277"/>
                      <a:pt x="52852" y="245178"/>
                      <a:pt x="59757" y="248519"/>
                    </a:cubicBezTo>
                    <a:cubicBezTo>
                      <a:pt x="77133" y="256984"/>
                      <a:pt x="94954" y="257652"/>
                      <a:pt x="112329" y="249410"/>
                    </a:cubicBezTo>
                    <a:cubicBezTo>
                      <a:pt x="132378" y="240054"/>
                      <a:pt x="134605" y="217555"/>
                      <a:pt x="117453" y="203298"/>
                    </a:cubicBezTo>
                    <a:cubicBezTo>
                      <a:pt x="106983" y="194611"/>
                      <a:pt x="94954" y="188373"/>
                      <a:pt x="82925" y="182359"/>
                    </a:cubicBezTo>
                    <a:cubicBezTo>
                      <a:pt x="65995" y="173894"/>
                      <a:pt x="49287" y="165206"/>
                      <a:pt x="35031" y="152731"/>
                    </a:cubicBezTo>
                    <a:cubicBezTo>
                      <a:pt x="8076" y="129341"/>
                      <a:pt x="-389" y="99491"/>
                      <a:pt x="8076" y="65408"/>
                    </a:cubicBezTo>
                    <a:cubicBezTo>
                      <a:pt x="16319" y="31994"/>
                      <a:pt x="39263" y="11723"/>
                      <a:pt x="72009" y="3703"/>
                    </a:cubicBezTo>
                    <a:cubicBezTo>
                      <a:pt x="106760" y="-4985"/>
                      <a:pt x="139283" y="1698"/>
                      <a:pt x="168243" y="22861"/>
                    </a:cubicBezTo>
                    <a:cubicBezTo>
                      <a:pt x="174034" y="27093"/>
                      <a:pt x="179381" y="31994"/>
                      <a:pt x="181386" y="39568"/>
                    </a:cubicBezTo>
                    <a:cubicBezTo>
                      <a:pt x="183168" y="46251"/>
                      <a:pt x="182054" y="52043"/>
                      <a:pt x="177376" y="57166"/>
                    </a:cubicBezTo>
                    <a:cubicBezTo>
                      <a:pt x="172698" y="62290"/>
                      <a:pt x="168020" y="67191"/>
                      <a:pt x="163119" y="72091"/>
                    </a:cubicBezTo>
                    <a:cubicBezTo>
                      <a:pt x="154209" y="80779"/>
                      <a:pt x="147303" y="80779"/>
                      <a:pt x="138170" y="72537"/>
                    </a:cubicBezTo>
                    <a:cubicBezTo>
                      <a:pt x="122131" y="58280"/>
                      <a:pt x="103864" y="53379"/>
                      <a:pt x="83147" y="59171"/>
                    </a:cubicBezTo>
                    <a:cubicBezTo>
                      <a:pt x="72455" y="62067"/>
                      <a:pt x="65772" y="69641"/>
                      <a:pt x="63544" y="80556"/>
                    </a:cubicBezTo>
                    <a:cubicBezTo>
                      <a:pt x="61317" y="91472"/>
                      <a:pt x="63990" y="101050"/>
                      <a:pt x="73123" y="108402"/>
                    </a:cubicBezTo>
                    <a:cubicBezTo>
                      <a:pt x="84261" y="117312"/>
                      <a:pt x="96736" y="123549"/>
                      <a:pt x="109656" y="129118"/>
                    </a:cubicBezTo>
                    <a:cubicBezTo>
                      <a:pt x="127923" y="137361"/>
                      <a:pt x="145298" y="146939"/>
                      <a:pt x="160669" y="160082"/>
                    </a:cubicBezTo>
                    <a:cubicBezTo>
                      <a:pt x="204776" y="197507"/>
                      <a:pt x="195642" y="271018"/>
                      <a:pt x="141957" y="298641"/>
                    </a:cubicBezTo>
                    <a:cubicBezTo>
                      <a:pt x="124136" y="307551"/>
                      <a:pt x="105646" y="311338"/>
                      <a:pt x="87157" y="311338"/>
                    </a:cubicBezTo>
                  </a:path>
                </a:pathLst>
              </a:custGeom>
              <a:grpFill/>
              <a:ln w="2224" cap="flat">
                <a:noFill/>
                <a:prstDash val="solid"/>
                <a:miter/>
              </a:ln>
            </p:spPr>
            <p:txBody>
              <a:bodyPr rtlCol="0" anchor="ctr"/>
              <a:lstStyle/>
              <a:p>
                <a:endParaRPr lang="nl-NL"/>
              </a:p>
            </p:txBody>
          </p:sp>
          <p:sp>
            <p:nvSpPr>
              <p:cNvPr id="27" name="Graphic 13">
                <a:extLst>
                  <a:ext uri="{FF2B5EF4-FFF2-40B4-BE49-F238E27FC236}">
                    <a16:creationId xmlns:a16="http://schemas.microsoft.com/office/drawing/2014/main" id="{7C16B56C-E980-42A0-9708-FB1BE82F3E22}"/>
                  </a:ext>
                </a:extLst>
              </p:cNvPr>
              <p:cNvSpPr/>
              <p:nvPr/>
            </p:nvSpPr>
            <p:spPr>
              <a:xfrm>
                <a:off x="1766651" y="1560036"/>
                <a:ext cx="188703" cy="310781"/>
              </a:xfrm>
              <a:custGeom>
                <a:avLst/>
                <a:gdLst>
                  <a:gd name="connsiteX0" fmla="*/ 99996 w 188703"/>
                  <a:gd name="connsiteY0" fmla="*/ 114 h 310781"/>
                  <a:gd name="connsiteX1" fmla="*/ 169052 w 188703"/>
                  <a:gd name="connsiteY1" fmla="*/ 23281 h 310781"/>
                  <a:gd name="connsiteX2" fmla="*/ 179076 w 188703"/>
                  <a:gd name="connsiteY2" fmla="*/ 33528 h 310781"/>
                  <a:gd name="connsiteX3" fmla="*/ 177294 w 188703"/>
                  <a:gd name="connsiteY3" fmla="*/ 56695 h 310781"/>
                  <a:gd name="connsiteX4" fmla="*/ 161032 w 188703"/>
                  <a:gd name="connsiteY4" fmla="*/ 73180 h 310781"/>
                  <a:gd name="connsiteX5" fmla="*/ 138979 w 188703"/>
                  <a:gd name="connsiteY5" fmla="*/ 72511 h 310781"/>
                  <a:gd name="connsiteX6" fmla="*/ 85516 w 188703"/>
                  <a:gd name="connsiteY6" fmla="*/ 57809 h 310781"/>
                  <a:gd name="connsiteX7" fmla="*/ 63685 w 188703"/>
                  <a:gd name="connsiteY7" fmla="*/ 78972 h 310781"/>
                  <a:gd name="connsiteX8" fmla="*/ 73932 w 188703"/>
                  <a:gd name="connsiteY8" fmla="*/ 108599 h 310781"/>
                  <a:gd name="connsiteX9" fmla="*/ 110020 w 188703"/>
                  <a:gd name="connsiteY9" fmla="*/ 128870 h 310781"/>
                  <a:gd name="connsiteX10" fmla="*/ 156800 w 188703"/>
                  <a:gd name="connsiteY10" fmla="*/ 156270 h 310781"/>
                  <a:gd name="connsiteX11" fmla="*/ 143657 w 188703"/>
                  <a:gd name="connsiteY11" fmla="*/ 297056 h 310781"/>
                  <a:gd name="connsiteX12" fmla="*/ 75492 w 188703"/>
                  <a:gd name="connsiteY12" fmla="*/ 310422 h 310781"/>
                  <a:gd name="connsiteX13" fmla="*/ 16905 w 188703"/>
                  <a:gd name="connsiteY13" fmla="*/ 291041 h 310781"/>
                  <a:gd name="connsiteX14" fmla="*/ 4876 w 188703"/>
                  <a:gd name="connsiteY14" fmla="*/ 279680 h 310781"/>
                  <a:gd name="connsiteX15" fmla="*/ 5322 w 188703"/>
                  <a:gd name="connsiteY15" fmla="*/ 252726 h 310781"/>
                  <a:gd name="connsiteX16" fmla="*/ 15791 w 188703"/>
                  <a:gd name="connsiteY16" fmla="*/ 239806 h 310781"/>
                  <a:gd name="connsiteX17" fmla="*/ 42523 w 188703"/>
                  <a:gd name="connsiteY17" fmla="*/ 236910 h 310781"/>
                  <a:gd name="connsiteX18" fmla="*/ 62126 w 188703"/>
                  <a:gd name="connsiteY18" fmla="*/ 249385 h 310781"/>
                  <a:gd name="connsiteX19" fmla="*/ 111579 w 188703"/>
                  <a:gd name="connsiteY19" fmla="*/ 249162 h 310781"/>
                  <a:gd name="connsiteX20" fmla="*/ 117594 w 188703"/>
                  <a:gd name="connsiteY20" fmla="*/ 203273 h 310781"/>
                  <a:gd name="connsiteX21" fmla="*/ 79279 w 188703"/>
                  <a:gd name="connsiteY21" fmla="*/ 180106 h 310781"/>
                  <a:gd name="connsiteX22" fmla="*/ 27152 w 188703"/>
                  <a:gd name="connsiteY22" fmla="*/ 144909 h 310781"/>
                  <a:gd name="connsiteX23" fmla="*/ 9777 w 188703"/>
                  <a:gd name="connsiteY23" fmla="*/ 58700 h 310781"/>
                  <a:gd name="connsiteX24" fmla="*/ 75714 w 188703"/>
                  <a:gd name="connsiteY24" fmla="*/ 2341 h 310781"/>
                  <a:gd name="connsiteX25" fmla="*/ 99996 w 188703"/>
                  <a:gd name="connsiteY25" fmla="*/ 114 h 310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8703" h="310781">
                    <a:moveTo>
                      <a:pt x="99996" y="114"/>
                    </a:moveTo>
                    <a:cubicBezTo>
                      <a:pt x="125613" y="-555"/>
                      <a:pt x="148335" y="8133"/>
                      <a:pt x="169052" y="23281"/>
                    </a:cubicBezTo>
                    <a:cubicBezTo>
                      <a:pt x="172839" y="26177"/>
                      <a:pt x="176626" y="29296"/>
                      <a:pt x="179076" y="33528"/>
                    </a:cubicBezTo>
                    <a:cubicBezTo>
                      <a:pt x="183532" y="41547"/>
                      <a:pt x="183309" y="50235"/>
                      <a:pt x="177294" y="56695"/>
                    </a:cubicBezTo>
                    <a:cubicBezTo>
                      <a:pt x="172171" y="62487"/>
                      <a:pt x="166824" y="68279"/>
                      <a:pt x="161032" y="73180"/>
                    </a:cubicBezTo>
                    <a:cubicBezTo>
                      <a:pt x="153013" y="80085"/>
                      <a:pt x="146776" y="79640"/>
                      <a:pt x="138979" y="72511"/>
                    </a:cubicBezTo>
                    <a:cubicBezTo>
                      <a:pt x="123608" y="58477"/>
                      <a:pt x="106010" y="53354"/>
                      <a:pt x="85516" y="57809"/>
                    </a:cubicBezTo>
                    <a:cubicBezTo>
                      <a:pt x="73932" y="60259"/>
                      <a:pt x="66581" y="67388"/>
                      <a:pt x="63685" y="78972"/>
                    </a:cubicBezTo>
                    <a:cubicBezTo>
                      <a:pt x="60567" y="91001"/>
                      <a:pt x="64131" y="101025"/>
                      <a:pt x="73932" y="108599"/>
                    </a:cubicBezTo>
                    <a:cubicBezTo>
                      <a:pt x="84848" y="117287"/>
                      <a:pt x="97322" y="123301"/>
                      <a:pt x="110020" y="128870"/>
                    </a:cubicBezTo>
                    <a:cubicBezTo>
                      <a:pt x="126727" y="136221"/>
                      <a:pt x="142320" y="145132"/>
                      <a:pt x="156800" y="156270"/>
                    </a:cubicBezTo>
                    <a:cubicBezTo>
                      <a:pt x="205585" y="194140"/>
                      <a:pt x="196229" y="268765"/>
                      <a:pt x="143657" y="297056"/>
                    </a:cubicBezTo>
                    <a:cubicBezTo>
                      <a:pt x="122272" y="308640"/>
                      <a:pt x="99550" y="311981"/>
                      <a:pt x="75492" y="310422"/>
                    </a:cubicBezTo>
                    <a:cubicBezTo>
                      <a:pt x="54106" y="309085"/>
                      <a:pt x="34281" y="303962"/>
                      <a:pt x="16905" y="291041"/>
                    </a:cubicBezTo>
                    <a:cubicBezTo>
                      <a:pt x="12450" y="287700"/>
                      <a:pt x="8440" y="283913"/>
                      <a:pt x="4876" y="279680"/>
                    </a:cubicBezTo>
                    <a:cubicBezTo>
                      <a:pt x="-1807" y="271438"/>
                      <a:pt x="-1584" y="260968"/>
                      <a:pt x="5322" y="252726"/>
                    </a:cubicBezTo>
                    <a:cubicBezTo>
                      <a:pt x="8886" y="248494"/>
                      <a:pt x="12450" y="244038"/>
                      <a:pt x="15791" y="239806"/>
                    </a:cubicBezTo>
                    <a:cubicBezTo>
                      <a:pt x="24256" y="229559"/>
                      <a:pt x="32053" y="228668"/>
                      <a:pt x="42523" y="236910"/>
                    </a:cubicBezTo>
                    <a:cubicBezTo>
                      <a:pt x="48760" y="241588"/>
                      <a:pt x="54998" y="246266"/>
                      <a:pt x="62126" y="249385"/>
                    </a:cubicBezTo>
                    <a:cubicBezTo>
                      <a:pt x="78610" y="256513"/>
                      <a:pt x="95318" y="256736"/>
                      <a:pt x="111579" y="249162"/>
                    </a:cubicBezTo>
                    <a:cubicBezTo>
                      <a:pt x="131851" y="239806"/>
                      <a:pt x="134524" y="217752"/>
                      <a:pt x="117594" y="203273"/>
                    </a:cubicBezTo>
                    <a:cubicBezTo>
                      <a:pt x="106010" y="193471"/>
                      <a:pt x="92644" y="186788"/>
                      <a:pt x="79279" y="180106"/>
                    </a:cubicBezTo>
                    <a:cubicBezTo>
                      <a:pt x="60344" y="170527"/>
                      <a:pt x="41855" y="160503"/>
                      <a:pt x="27152" y="144909"/>
                    </a:cubicBezTo>
                    <a:cubicBezTo>
                      <a:pt x="3985" y="119737"/>
                      <a:pt x="-693" y="90110"/>
                      <a:pt x="9777" y="58700"/>
                    </a:cubicBezTo>
                    <a:cubicBezTo>
                      <a:pt x="20247" y="27068"/>
                      <a:pt x="43859" y="9470"/>
                      <a:pt x="75714" y="2341"/>
                    </a:cubicBezTo>
                    <a:cubicBezTo>
                      <a:pt x="83511" y="559"/>
                      <a:pt x="91753" y="-332"/>
                      <a:pt x="99996" y="114"/>
                    </a:cubicBezTo>
                  </a:path>
                </a:pathLst>
              </a:custGeom>
              <a:grpFill/>
              <a:ln w="2224" cap="flat">
                <a:noFill/>
                <a:prstDash val="solid"/>
                <a:miter/>
              </a:ln>
            </p:spPr>
            <p:txBody>
              <a:bodyPr rtlCol="0" anchor="ctr"/>
              <a:lstStyle/>
              <a:p>
                <a:endParaRPr lang="nl-NL"/>
              </a:p>
            </p:txBody>
          </p:sp>
          <p:sp>
            <p:nvSpPr>
              <p:cNvPr id="28" name="Graphic 13">
                <a:extLst>
                  <a:ext uri="{FF2B5EF4-FFF2-40B4-BE49-F238E27FC236}">
                    <a16:creationId xmlns:a16="http://schemas.microsoft.com/office/drawing/2014/main" id="{B4300137-3940-44E8-BCBF-DBB6183598DC}"/>
                  </a:ext>
                </a:extLst>
              </p:cNvPr>
              <p:cNvSpPr/>
              <p:nvPr/>
            </p:nvSpPr>
            <p:spPr>
              <a:xfrm>
                <a:off x="1807515" y="1137089"/>
                <a:ext cx="149294" cy="297867"/>
              </a:xfrm>
              <a:custGeom>
                <a:avLst/>
                <a:gdLst>
                  <a:gd name="connsiteX0" fmla="*/ 322 w 149294"/>
                  <a:gd name="connsiteY0" fmla="*/ 189828 h 297867"/>
                  <a:gd name="connsiteX1" fmla="*/ 545 w 149294"/>
                  <a:gd name="connsiteY1" fmla="*/ 102505 h 297867"/>
                  <a:gd name="connsiteX2" fmla="*/ 33959 w 149294"/>
                  <a:gd name="connsiteY2" fmla="*/ 24761 h 297867"/>
                  <a:gd name="connsiteX3" fmla="*/ 100119 w 149294"/>
                  <a:gd name="connsiteY3" fmla="*/ 257 h 297867"/>
                  <a:gd name="connsiteX4" fmla="*/ 129524 w 149294"/>
                  <a:gd name="connsiteY4" fmla="*/ 257 h 297867"/>
                  <a:gd name="connsiteX5" fmla="*/ 149127 w 149294"/>
                  <a:gd name="connsiteY5" fmla="*/ 19415 h 297867"/>
                  <a:gd name="connsiteX6" fmla="*/ 149127 w 149294"/>
                  <a:gd name="connsiteY6" fmla="*/ 37236 h 297867"/>
                  <a:gd name="connsiteX7" fmla="*/ 129524 w 149294"/>
                  <a:gd name="connsiteY7" fmla="*/ 56616 h 297867"/>
                  <a:gd name="connsiteX8" fmla="*/ 109030 w 149294"/>
                  <a:gd name="connsiteY8" fmla="*/ 56616 h 297867"/>
                  <a:gd name="connsiteX9" fmla="*/ 61136 w 149294"/>
                  <a:gd name="connsiteY9" fmla="*/ 97382 h 297867"/>
                  <a:gd name="connsiteX10" fmla="*/ 59799 w 149294"/>
                  <a:gd name="connsiteY10" fmla="*/ 117208 h 297867"/>
                  <a:gd name="connsiteX11" fmla="*/ 59799 w 149294"/>
                  <a:gd name="connsiteY11" fmla="*/ 276260 h 297867"/>
                  <a:gd name="connsiteX12" fmla="*/ 38191 w 149294"/>
                  <a:gd name="connsiteY12" fmla="*/ 297868 h 297867"/>
                  <a:gd name="connsiteX13" fmla="*/ 20370 w 149294"/>
                  <a:gd name="connsiteY13" fmla="*/ 297868 h 297867"/>
                  <a:gd name="connsiteX14" fmla="*/ 99 w 149294"/>
                  <a:gd name="connsiteY14" fmla="*/ 278042 h 297867"/>
                  <a:gd name="connsiteX15" fmla="*/ 99 w 149294"/>
                  <a:gd name="connsiteY15" fmla="*/ 246855 h 297867"/>
                  <a:gd name="connsiteX16" fmla="*/ 99 w 149294"/>
                  <a:gd name="connsiteY16" fmla="*/ 189605 h 297867"/>
                  <a:gd name="connsiteX17" fmla="*/ 322 w 149294"/>
                  <a:gd name="connsiteY17" fmla="*/ 189605 h 297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9294" h="297867">
                    <a:moveTo>
                      <a:pt x="322" y="189828"/>
                    </a:moveTo>
                    <a:cubicBezTo>
                      <a:pt x="322" y="160646"/>
                      <a:pt x="-347" y="131687"/>
                      <a:pt x="545" y="102505"/>
                    </a:cubicBezTo>
                    <a:cubicBezTo>
                      <a:pt x="1213" y="72432"/>
                      <a:pt x="11237" y="45478"/>
                      <a:pt x="33959" y="24761"/>
                    </a:cubicBezTo>
                    <a:cubicBezTo>
                      <a:pt x="52671" y="7608"/>
                      <a:pt x="75393" y="1148"/>
                      <a:pt x="100119" y="257"/>
                    </a:cubicBezTo>
                    <a:cubicBezTo>
                      <a:pt x="109921" y="-188"/>
                      <a:pt x="119723" y="34"/>
                      <a:pt x="129524" y="257"/>
                    </a:cubicBezTo>
                    <a:cubicBezTo>
                      <a:pt x="141776" y="257"/>
                      <a:pt x="148904" y="7163"/>
                      <a:pt x="149127" y="19415"/>
                    </a:cubicBezTo>
                    <a:cubicBezTo>
                      <a:pt x="149350" y="25429"/>
                      <a:pt x="149350" y="31221"/>
                      <a:pt x="149127" y="37236"/>
                    </a:cubicBezTo>
                    <a:cubicBezTo>
                      <a:pt x="148682" y="49488"/>
                      <a:pt x="141999" y="56393"/>
                      <a:pt x="129524" y="56616"/>
                    </a:cubicBezTo>
                    <a:cubicBezTo>
                      <a:pt x="122618" y="56839"/>
                      <a:pt x="115713" y="56616"/>
                      <a:pt x="109030" y="56616"/>
                    </a:cubicBezTo>
                    <a:cubicBezTo>
                      <a:pt x="82521" y="56616"/>
                      <a:pt x="65591" y="71096"/>
                      <a:pt x="61136" y="97382"/>
                    </a:cubicBezTo>
                    <a:cubicBezTo>
                      <a:pt x="60022" y="104065"/>
                      <a:pt x="59799" y="110747"/>
                      <a:pt x="59799" y="117208"/>
                    </a:cubicBezTo>
                    <a:cubicBezTo>
                      <a:pt x="59799" y="170225"/>
                      <a:pt x="59799" y="223242"/>
                      <a:pt x="59799" y="276260"/>
                    </a:cubicBezTo>
                    <a:cubicBezTo>
                      <a:pt x="59799" y="291408"/>
                      <a:pt x="53116" y="297868"/>
                      <a:pt x="38191" y="297868"/>
                    </a:cubicBezTo>
                    <a:cubicBezTo>
                      <a:pt x="32177" y="297868"/>
                      <a:pt x="26385" y="297868"/>
                      <a:pt x="20370" y="297868"/>
                    </a:cubicBezTo>
                    <a:cubicBezTo>
                      <a:pt x="7673" y="297868"/>
                      <a:pt x="322" y="290962"/>
                      <a:pt x="99" y="278042"/>
                    </a:cubicBezTo>
                    <a:cubicBezTo>
                      <a:pt x="-124" y="267572"/>
                      <a:pt x="99" y="257325"/>
                      <a:pt x="99" y="246855"/>
                    </a:cubicBezTo>
                    <a:lnTo>
                      <a:pt x="99" y="189605"/>
                    </a:lnTo>
                    <a:lnTo>
                      <a:pt x="322" y="189605"/>
                    </a:lnTo>
                    <a:close/>
                  </a:path>
                </a:pathLst>
              </a:custGeom>
              <a:grpFill/>
              <a:ln w="2224" cap="flat">
                <a:noFill/>
                <a:prstDash val="solid"/>
                <a:miter/>
              </a:ln>
            </p:spPr>
            <p:txBody>
              <a:bodyPr rtlCol="0" anchor="ctr"/>
              <a:lstStyle/>
              <a:p>
                <a:endParaRPr lang="nl-NL"/>
              </a:p>
            </p:txBody>
          </p:sp>
          <p:sp>
            <p:nvSpPr>
              <p:cNvPr id="29" name="Graphic 13">
                <a:extLst>
                  <a:ext uri="{FF2B5EF4-FFF2-40B4-BE49-F238E27FC236}">
                    <a16:creationId xmlns:a16="http://schemas.microsoft.com/office/drawing/2014/main" id="{A0765A4D-DB9C-4359-9953-1CE7E0B07B1E}"/>
                  </a:ext>
                </a:extLst>
              </p:cNvPr>
              <p:cNvSpPr/>
              <p:nvPr/>
            </p:nvSpPr>
            <p:spPr>
              <a:xfrm>
                <a:off x="1646334" y="1566610"/>
                <a:ext cx="59923" cy="298155"/>
              </a:xfrm>
              <a:custGeom>
                <a:avLst/>
                <a:gdLst>
                  <a:gd name="connsiteX0" fmla="*/ 59923 w 59923"/>
                  <a:gd name="connsiteY0" fmla="*/ 149251 h 298155"/>
                  <a:gd name="connsiteX1" fmla="*/ 59923 w 59923"/>
                  <a:gd name="connsiteY1" fmla="*/ 274889 h 298155"/>
                  <a:gd name="connsiteX2" fmla="*/ 36533 w 59923"/>
                  <a:gd name="connsiteY2" fmla="*/ 298056 h 298155"/>
                  <a:gd name="connsiteX3" fmla="*/ 19826 w 59923"/>
                  <a:gd name="connsiteY3" fmla="*/ 298056 h 298155"/>
                  <a:gd name="connsiteX4" fmla="*/ 0 w 59923"/>
                  <a:gd name="connsiteY4" fmla="*/ 277785 h 298155"/>
                  <a:gd name="connsiteX5" fmla="*/ 0 w 59923"/>
                  <a:gd name="connsiteY5" fmla="*/ 244370 h 298155"/>
                  <a:gd name="connsiteX6" fmla="*/ 0 w 59923"/>
                  <a:gd name="connsiteY6" fmla="*/ 22053 h 298155"/>
                  <a:gd name="connsiteX7" fmla="*/ 21831 w 59923"/>
                  <a:gd name="connsiteY7" fmla="*/ 0 h 298155"/>
                  <a:gd name="connsiteX8" fmla="*/ 38983 w 59923"/>
                  <a:gd name="connsiteY8" fmla="*/ 0 h 298155"/>
                  <a:gd name="connsiteX9" fmla="*/ 59700 w 59923"/>
                  <a:gd name="connsiteY9" fmla="*/ 20940 h 298155"/>
                  <a:gd name="connsiteX10" fmla="*/ 59700 w 59923"/>
                  <a:gd name="connsiteY10" fmla="*/ 71952 h 298155"/>
                  <a:gd name="connsiteX11" fmla="*/ 59700 w 59923"/>
                  <a:gd name="connsiteY11" fmla="*/ 149251 h 29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923" h="298155">
                    <a:moveTo>
                      <a:pt x="59923" y="149251"/>
                    </a:moveTo>
                    <a:cubicBezTo>
                      <a:pt x="59923" y="191130"/>
                      <a:pt x="59923" y="233009"/>
                      <a:pt x="59923" y="274889"/>
                    </a:cubicBezTo>
                    <a:cubicBezTo>
                      <a:pt x="59923" y="291596"/>
                      <a:pt x="53463" y="298056"/>
                      <a:pt x="36533" y="298056"/>
                    </a:cubicBezTo>
                    <a:cubicBezTo>
                      <a:pt x="30964" y="298056"/>
                      <a:pt x="25395" y="298279"/>
                      <a:pt x="19826" y="298056"/>
                    </a:cubicBezTo>
                    <a:cubicBezTo>
                      <a:pt x="7128" y="297833"/>
                      <a:pt x="0" y="290705"/>
                      <a:pt x="0" y="277785"/>
                    </a:cubicBezTo>
                    <a:cubicBezTo>
                      <a:pt x="0" y="266647"/>
                      <a:pt x="0" y="255509"/>
                      <a:pt x="0" y="244370"/>
                    </a:cubicBezTo>
                    <a:cubicBezTo>
                      <a:pt x="0" y="170190"/>
                      <a:pt x="0" y="96233"/>
                      <a:pt x="0" y="22053"/>
                    </a:cubicBezTo>
                    <a:cubicBezTo>
                      <a:pt x="0" y="6460"/>
                      <a:pt x="6460" y="0"/>
                      <a:pt x="21831" y="0"/>
                    </a:cubicBezTo>
                    <a:cubicBezTo>
                      <a:pt x="27623" y="0"/>
                      <a:pt x="33414" y="0"/>
                      <a:pt x="38983" y="0"/>
                    </a:cubicBezTo>
                    <a:cubicBezTo>
                      <a:pt x="52795" y="223"/>
                      <a:pt x="59700" y="7128"/>
                      <a:pt x="59700" y="20940"/>
                    </a:cubicBezTo>
                    <a:cubicBezTo>
                      <a:pt x="59700" y="37870"/>
                      <a:pt x="59700" y="55022"/>
                      <a:pt x="59700" y="71952"/>
                    </a:cubicBezTo>
                    <a:lnTo>
                      <a:pt x="59700" y="149251"/>
                    </a:lnTo>
                    <a:close/>
                  </a:path>
                </a:pathLst>
              </a:custGeom>
              <a:grpFill/>
              <a:ln w="2224" cap="flat">
                <a:noFill/>
                <a:prstDash val="solid"/>
                <a:miter/>
              </a:ln>
            </p:spPr>
            <p:txBody>
              <a:bodyPr rtlCol="0" anchor="ctr"/>
              <a:lstStyle/>
              <a:p>
                <a:endParaRPr lang="nl-NL"/>
              </a:p>
            </p:txBody>
          </p:sp>
        </p:grpSp>
      </p:grpSp>
    </p:spTree>
    <p:extLst>
      <p:ext uri="{BB962C8B-B14F-4D97-AF65-F5344CB8AC3E}">
        <p14:creationId xmlns:p14="http://schemas.microsoft.com/office/powerpoint/2010/main" val="971716936"/>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Eindedia alternatief">
    <p:bg>
      <p:bgPr>
        <a:solidFill>
          <a:schemeClr val="accent2"/>
        </a:solidFill>
        <a:effectLst/>
      </p:bgPr>
    </p:bg>
    <p:spTree>
      <p:nvGrpSpPr>
        <p:cNvPr id="1" name=""/>
        <p:cNvGrpSpPr/>
        <p:nvPr/>
      </p:nvGrpSpPr>
      <p:grpSpPr>
        <a:xfrm>
          <a:off x="0" y="0"/>
          <a:ext cx="0" cy="0"/>
          <a:chOff x="0" y="0"/>
          <a:chExt cx="0" cy="0"/>
        </a:xfrm>
      </p:grpSpPr>
      <p:sp>
        <p:nvSpPr>
          <p:cNvPr id="3" name="Tijdelijke aanduiding voor dianummer 2">
            <a:extLst>
              <a:ext uri="{FF2B5EF4-FFF2-40B4-BE49-F238E27FC236}">
                <a16:creationId xmlns:a16="http://schemas.microsoft.com/office/drawing/2014/main" id="{DDC3D64E-BC7E-42C4-9B5C-F94E79373BBB}"/>
              </a:ext>
            </a:extLst>
          </p:cNvPr>
          <p:cNvSpPr>
            <a:spLocks noGrp="1"/>
          </p:cNvSpPr>
          <p:nvPr>
            <p:ph type="sldNum" sz="quarter" idx="10"/>
          </p:nvPr>
        </p:nvSpPr>
        <p:spPr>
          <a:xfrm>
            <a:off x="23177500" y="13807440"/>
            <a:ext cx="811276" cy="441146"/>
          </a:xfrm>
        </p:spPr>
        <p:txBody>
          <a:bodyPr/>
          <a:lstStyle/>
          <a:p>
            <a:fld id="{86CB4B4D-7CA3-9044-876B-883B54F8677D}" type="slidenum">
              <a:rPr lang="nl-NL" smtClean="0"/>
              <a:pPr/>
              <a:t>‹nr.›</a:t>
            </a:fld>
            <a:endParaRPr lang="nl-NL"/>
          </a:p>
        </p:txBody>
      </p:sp>
      <p:sp>
        <p:nvSpPr>
          <p:cNvPr id="8" name="Tijdelijke aanduiding voor datum 4">
            <a:extLst>
              <a:ext uri="{FF2B5EF4-FFF2-40B4-BE49-F238E27FC236}">
                <a16:creationId xmlns:a16="http://schemas.microsoft.com/office/drawing/2014/main" id="{A33FEC85-EA92-4F1E-9BDE-DF9C13EEACB9}"/>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9" name="Tijdelijke aanduiding voor voettekst 4">
            <a:extLst>
              <a:ext uri="{FF2B5EF4-FFF2-40B4-BE49-F238E27FC236}">
                <a16:creationId xmlns:a16="http://schemas.microsoft.com/office/drawing/2014/main" id="{E5378240-6A84-469B-AA8E-D0686D723CBB}"/>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pic>
        <p:nvPicPr>
          <p:cNvPr id="4" name="Graphic 3">
            <a:extLst>
              <a:ext uri="{FF2B5EF4-FFF2-40B4-BE49-F238E27FC236}">
                <a16:creationId xmlns:a16="http://schemas.microsoft.com/office/drawing/2014/main" id="{6D22F039-C101-40C9-9861-98F77FD457A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02000" y="4140000"/>
            <a:ext cx="5580000" cy="7141169"/>
          </a:xfrm>
          <a:prstGeom prst="rect">
            <a:avLst/>
          </a:prstGeom>
        </p:spPr>
      </p:pic>
    </p:spTree>
    <p:extLst>
      <p:ext uri="{BB962C8B-B14F-4D97-AF65-F5344CB8AC3E}">
        <p14:creationId xmlns:p14="http://schemas.microsoft.com/office/powerpoint/2010/main" val="1944017259"/>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Eindedia alternatief">
    <p:bg>
      <p:bgPr>
        <a:solidFill>
          <a:schemeClr val="accent1"/>
        </a:solidFill>
        <a:effectLst/>
      </p:bgPr>
    </p:bg>
    <p:spTree>
      <p:nvGrpSpPr>
        <p:cNvPr id="1" name=""/>
        <p:cNvGrpSpPr/>
        <p:nvPr/>
      </p:nvGrpSpPr>
      <p:grpSpPr>
        <a:xfrm>
          <a:off x="0" y="0"/>
          <a:ext cx="0" cy="0"/>
          <a:chOff x="0" y="0"/>
          <a:chExt cx="0" cy="0"/>
        </a:xfrm>
      </p:grpSpPr>
      <p:sp>
        <p:nvSpPr>
          <p:cNvPr id="3" name="Tijdelijke aanduiding voor dianummer 2">
            <a:extLst>
              <a:ext uri="{FF2B5EF4-FFF2-40B4-BE49-F238E27FC236}">
                <a16:creationId xmlns:a16="http://schemas.microsoft.com/office/drawing/2014/main" id="{DDC3D64E-BC7E-42C4-9B5C-F94E79373BBB}"/>
              </a:ext>
            </a:extLst>
          </p:cNvPr>
          <p:cNvSpPr>
            <a:spLocks noGrp="1"/>
          </p:cNvSpPr>
          <p:nvPr>
            <p:ph type="sldNum" sz="quarter" idx="10"/>
          </p:nvPr>
        </p:nvSpPr>
        <p:spPr>
          <a:xfrm>
            <a:off x="23177500" y="13807440"/>
            <a:ext cx="811276" cy="441146"/>
          </a:xfrm>
        </p:spPr>
        <p:txBody>
          <a:bodyPr/>
          <a:lstStyle/>
          <a:p>
            <a:fld id="{86CB4B4D-7CA3-9044-876B-883B54F8677D}" type="slidenum">
              <a:rPr lang="nl-NL" smtClean="0"/>
              <a:pPr/>
              <a:t>‹nr.›</a:t>
            </a:fld>
            <a:endParaRPr lang="nl-NL"/>
          </a:p>
        </p:txBody>
      </p:sp>
      <p:sp>
        <p:nvSpPr>
          <p:cNvPr id="8" name="Tijdelijke aanduiding voor datum 4">
            <a:extLst>
              <a:ext uri="{FF2B5EF4-FFF2-40B4-BE49-F238E27FC236}">
                <a16:creationId xmlns:a16="http://schemas.microsoft.com/office/drawing/2014/main" id="{A33FEC85-EA92-4F1E-9BDE-DF9C13EEACB9}"/>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sp>
        <p:nvSpPr>
          <p:cNvPr id="9" name="Tijdelijke aanduiding voor voettekst 4">
            <a:extLst>
              <a:ext uri="{FF2B5EF4-FFF2-40B4-BE49-F238E27FC236}">
                <a16:creationId xmlns:a16="http://schemas.microsoft.com/office/drawing/2014/main" id="{E5378240-6A84-469B-AA8E-D0686D723CBB}"/>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pic>
        <p:nvPicPr>
          <p:cNvPr id="4" name="Graphic 3">
            <a:extLst>
              <a:ext uri="{FF2B5EF4-FFF2-40B4-BE49-F238E27FC236}">
                <a16:creationId xmlns:a16="http://schemas.microsoft.com/office/drawing/2014/main" id="{DF9050ED-B83B-418F-8783-5FDA9E87FE9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02000" y="4140000"/>
            <a:ext cx="5580000" cy="7141243"/>
          </a:xfrm>
          <a:prstGeom prst="rect">
            <a:avLst/>
          </a:prstGeom>
        </p:spPr>
      </p:pic>
    </p:spTree>
    <p:extLst>
      <p:ext uri="{BB962C8B-B14F-4D97-AF65-F5344CB8AC3E}">
        <p14:creationId xmlns:p14="http://schemas.microsoft.com/office/powerpoint/2010/main" val="1099499134"/>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ustom Content">
    <p:spTree>
      <p:nvGrpSpPr>
        <p:cNvPr id="1" name=""/>
        <p:cNvGrpSpPr/>
        <p:nvPr/>
      </p:nvGrpSpPr>
      <p:grpSpPr>
        <a:xfrm>
          <a:off x="0" y="0"/>
          <a:ext cx="0" cy="0"/>
          <a:chOff x="0" y="0"/>
          <a:chExt cx="0" cy="0"/>
        </a:xfrm>
      </p:grpSpPr>
      <p:sp>
        <p:nvSpPr>
          <p:cNvPr id="14" name="Title 13"/>
          <p:cNvSpPr>
            <a:spLocks noGrp="1"/>
          </p:cNvSpPr>
          <p:nvPr>
            <p:ph type="title"/>
          </p:nvPr>
        </p:nvSpPr>
        <p:spPr>
          <a:xfrm>
            <a:off x="1815728" y="2751910"/>
            <a:ext cx="20701840" cy="1398277"/>
          </a:xfrm>
          <a:prstGeom prst="rect">
            <a:avLst/>
          </a:prstGeom>
        </p:spPr>
        <p:txBody>
          <a:bodyPr/>
          <a:lstStyle>
            <a:lvl1pPr>
              <a:defRPr lang="en-US" sz="5333" b="1" dirty="0" smtClean="0">
                <a:latin typeface="Campton Book" panose="00000800000000000000" pitchFamily="50" charset="0"/>
              </a:defRPr>
            </a:lvl1pPr>
          </a:lstStyle>
          <a:p>
            <a:r>
              <a:rPr lang="en-US"/>
              <a:t>Click to edit Master title style</a:t>
            </a:r>
            <a:endParaRPr lang="en-GB"/>
          </a:p>
        </p:txBody>
      </p:sp>
      <p:sp>
        <p:nvSpPr>
          <p:cNvPr id="16" name="Text Placeholder 15"/>
          <p:cNvSpPr>
            <a:spLocks noGrp="1"/>
          </p:cNvSpPr>
          <p:nvPr>
            <p:ph type="body" sz="quarter" idx="11"/>
          </p:nvPr>
        </p:nvSpPr>
        <p:spPr>
          <a:xfrm>
            <a:off x="1816100" y="4491569"/>
            <a:ext cx="20701469" cy="8588707"/>
          </a:xfrm>
          <a:prstGeom prst="rect">
            <a:avLst/>
          </a:prstGeom>
        </p:spPr>
        <p:txBody>
          <a:bodyPr/>
          <a:lstStyle>
            <a:lvl1pPr marL="0" indent="0">
              <a:buNone/>
              <a:defRPr lang="en-US" sz="4267" dirty="0" smtClean="0">
                <a:latin typeface="Campton Light" panose="00000400000000000000" pitchFamily="50" charset="0"/>
              </a:defRPr>
            </a:lvl1pPr>
            <a:lvl2pPr>
              <a:defRPr lang="en-US" sz="3733" dirty="0" smtClean="0">
                <a:latin typeface="Campton Light" panose="00000400000000000000" pitchFamily="50" charset="0"/>
              </a:defRPr>
            </a:lvl2pPr>
            <a:lvl3pPr>
              <a:defRPr lang="en-US" sz="3733" dirty="0" smtClean="0">
                <a:latin typeface="Campton Light" panose="00000400000000000000" pitchFamily="50" charset="0"/>
              </a:defRPr>
            </a:lvl3pPr>
            <a:lvl4pPr>
              <a:defRPr sz="2933">
                <a:latin typeface="Campton Light" panose="00000400000000000000" pitchFamily="50" charset="0"/>
              </a:defRPr>
            </a:lvl4pPr>
            <a:lvl5pPr>
              <a:defRPr sz="2933">
                <a:latin typeface="Campton Light" panose="00000400000000000000" pitchFamily="50" charset="0"/>
              </a:defRPr>
            </a:lvl5pPr>
          </a:lstStyle>
          <a:p>
            <a:pPr lvl="0"/>
            <a:r>
              <a:rPr lang="en-US"/>
              <a:t>Click to edit Master text styles</a:t>
            </a:r>
          </a:p>
          <a:p>
            <a:pPr lvl="1"/>
            <a:r>
              <a:rPr lang="en-US"/>
              <a:t>Second level</a:t>
            </a:r>
          </a:p>
          <a:p>
            <a:pPr lvl="2"/>
            <a:r>
              <a:rPr lang="en-US"/>
              <a:t>Third level</a:t>
            </a:r>
          </a:p>
        </p:txBody>
      </p:sp>
      <p:sp>
        <p:nvSpPr>
          <p:cNvPr id="9" name="SmartArt Placeholder 2"/>
          <p:cNvSpPr>
            <a:spLocks noGrp="1"/>
          </p:cNvSpPr>
          <p:nvPr>
            <p:ph type="dgm" sz="quarter" idx="12" hasCustomPrompt="1"/>
          </p:nvPr>
        </p:nvSpPr>
        <p:spPr>
          <a:xfrm>
            <a:off x="2071136" y="2359724"/>
            <a:ext cx="2650752" cy="205677"/>
          </a:xfrm>
          <a:prstGeom prst="rect">
            <a:avLst/>
          </a:prstGeom>
          <a:solidFill>
            <a:schemeClr val="tx1"/>
          </a:solidFill>
        </p:spPr>
        <p:txBody>
          <a:bodyPr/>
          <a:lstStyle>
            <a:lvl1pPr marL="0" indent="0">
              <a:buNone/>
              <a:defRPr sz="2133" b="1"/>
            </a:lvl1pPr>
          </a:lstStyle>
          <a:p>
            <a:r>
              <a:rPr lang="nl-NL"/>
              <a:t> </a:t>
            </a:r>
          </a:p>
          <a:p>
            <a:endParaRPr lang="en-GB"/>
          </a:p>
        </p:txBody>
      </p:sp>
      <p:pic>
        <p:nvPicPr>
          <p:cNvPr id="10" name="Picture 9" descr="drift-logo-horizontaal.eps"/>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90608" y="825600"/>
            <a:ext cx="3531280" cy="660000"/>
          </a:xfrm>
          <a:prstGeom prst="rect">
            <a:avLst/>
          </a:prstGeom>
        </p:spPr>
      </p:pic>
    </p:spTree>
    <p:extLst>
      <p:ext uri="{BB962C8B-B14F-4D97-AF65-F5344CB8AC3E}">
        <p14:creationId xmlns:p14="http://schemas.microsoft.com/office/powerpoint/2010/main" val="18880831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cSld name="Cover Provinciehuis">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243447518"/>
              </p:ext>
            </p:extLst>
          </p:nvPr>
        </p:nvGraphicFramePr>
        <p:xfrm>
          <a:off x="4236" y="4236"/>
          <a:ext cx="4232" cy="4232"/>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4236" y="4236"/>
                        <a:ext cx="4232" cy="4232"/>
                      </a:xfrm>
                      <a:prstGeom prst="rect">
                        <a:avLst/>
                      </a:prstGeom>
                    </p:spPr>
                  </p:pic>
                </p:oleObj>
              </mc:Fallback>
            </mc:AlternateContent>
          </a:graphicData>
        </a:graphic>
      </p:graphicFrame>
      <p:sp>
        <p:nvSpPr>
          <p:cNvPr id="2" name="Title 1"/>
          <p:cNvSpPr>
            <a:spLocks noGrp="1"/>
          </p:cNvSpPr>
          <p:nvPr>
            <p:ph type="ctrTitle" hasCustomPrompt="1"/>
            <p:custDataLst>
              <p:tags r:id="rId2"/>
            </p:custDataLst>
          </p:nvPr>
        </p:nvSpPr>
        <p:spPr>
          <a:xfrm>
            <a:off x="2353231" y="5600234"/>
            <a:ext cx="12326429" cy="1128066"/>
          </a:xfrm>
          <a:prstGeom prst="rect">
            <a:avLst/>
          </a:prstGeom>
        </p:spPr>
        <p:txBody>
          <a:bodyPr wrap="square">
            <a:spAutoFit/>
          </a:bodyPr>
          <a:lstStyle>
            <a:lvl1pPr algn="l">
              <a:defRPr sz="8533" b="1" baseline="0">
                <a:solidFill>
                  <a:srgbClr val="281F6B"/>
                </a:solidFill>
                <a:latin typeface="Calibri" panose="020F0502020204030204" pitchFamily="34" charset="0"/>
                <a:cs typeface="Calibri" panose="020F0502020204030204" pitchFamily="34" charset="0"/>
              </a:defRPr>
            </a:lvl1pPr>
          </a:lstStyle>
          <a:p>
            <a:r>
              <a:rPr lang="nl-NL"/>
              <a:t>Klik om een titel te maken</a:t>
            </a:r>
          </a:p>
        </p:txBody>
      </p:sp>
      <p:sp>
        <p:nvSpPr>
          <p:cNvPr id="3" name="Subtitle 2"/>
          <p:cNvSpPr>
            <a:spLocks noGrp="1"/>
          </p:cNvSpPr>
          <p:nvPr>
            <p:ph type="subTitle" idx="1" hasCustomPrompt="1"/>
            <p:custDataLst>
              <p:tags r:id="rId3"/>
            </p:custDataLst>
          </p:nvPr>
        </p:nvSpPr>
        <p:spPr>
          <a:xfrm>
            <a:off x="2353233" y="7238401"/>
            <a:ext cx="9457768" cy="968086"/>
          </a:xfrm>
          <a:prstGeom prst="rect">
            <a:avLst/>
          </a:prstGeom>
        </p:spPr>
        <p:txBody>
          <a:bodyPr wrap="square">
            <a:spAutoFit/>
          </a:bodyPr>
          <a:lstStyle>
            <a:lvl1pPr marL="0" indent="0" algn="l">
              <a:buNone/>
              <a:defRPr sz="4267">
                <a:solidFill>
                  <a:srgbClr val="281F6B"/>
                </a:solidFill>
                <a:latin typeface="Georgia" panose="02040502050405020303" pitchFamily="18" charset="0"/>
              </a:defRPr>
            </a:lvl1pPr>
            <a:lvl2pPr marL="1219215" indent="0" algn="ctr">
              <a:buNone/>
              <a:defRPr>
                <a:solidFill>
                  <a:schemeClr val="tx1">
                    <a:tint val="75000"/>
                  </a:schemeClr>
                </a:solidFill>
              </a:defRPr>
            </a:lvl2pPr>
            <a:lvl3pPr marL="2438430" indent="0" algn="ctr">
              <a:buNone/>
              <a:defRPr>
                <a:solidFill>
                  <a:schemeClr val="tx1">
                    <a:tint val="75000"/>
                  </a:schemeClr>
                </a:solidFill>
              </a:defRPr>
            </a:lvl3pPr>
            <a:lvl4pPr marL="3657646" indent="0" algn="ctr">
              <a:buNone/>
              <a:defRPr>
                <a:solidFill>
                  <a:schemeClr val="tx1">
                    <a:tint val="75000"/>
                  </a:schemeClr>
                </a:solidFill>
              </a:defRPr>
            </a:lvl4pPr>
            <a:lvl5pPr marL="4876861" indent="0" algn="ctr">
              <a:buNone/>
              <a:defRPr>
                <a:solidFill>
                  <a:schemeClr val="tx1">
                    <a:tint val="75000"/>
                  </a:schemeClr>
                </a:solidFill>
              </a:defRPr>
            </a:lvl5pPr>
            <a:lvl6pPr marL="6096076" indent="0" algn="ctr">
              <a:buNone/>
              <a:defRPr>
                <a:solidFill>
                  <a:schemeClr val="tx1">
                    <a:tint val="75000"/>
                  </a:schemeClr>
                </a:solidFill>
              </a:defRPr>
            </a:lvl6pPr>
            <a:lvl7pPr marL="7315291" indent="0" algn="ctr">
              <a:buNone/>
              <a:defRPr>
                <a:solidFill>
                  <a:schemeClr val="tx1">
                    <a:tint val="75000"/>
                  </a:schemeClr>
                </a:solidFill>
              </a:defRPr>
            </a:lvl7pPr>
            <a:lvl8pPr marL="8534507" indent="0" algn="ctr">
              <a:buNone/>
              <a:defRPr>
                <a:solidFill>
                  <a:schemeClr val="tx1">
                    <a:tint val="75000"/>
                  </a:schemeClr>
                </a:solidFill>
              </a:defRPr>
            </a:lvl8pPr>
            <a:lvl9pPr marL="9753722" indent="0" algn="ctr">
              <a:buNone/>
              <a:defRPr>
                <a:solidFill>
                  <a:schemeClr val="tx1">
                    <a:tint val="75000"/>
                  </a:schemeClr>
                </a:solidFill>
              </a:defRPr>
            </a:lvl9pPr>
          </a:lstStyle>
          <a:p>
            <a:r>
              <a:rPr lang="nl-NL"/>
              <a:t>Klik om een ondertitel te maken</a:t>
            </a:r>
          </a:p>
        </p:txBody>
      </p:sp>
    </p:spTree>
    <p:extLst>
      <p:ext uri="{BB962C8B-B14F-4D97-AF65-F5344CB8AC3E}">
        <p14:creationId xmlns:p14="http://schemas.microsoft.com/office/powerpoint/2010/main" val="40684091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05368-B9FC-5936-E5BA-4C2A397F3A7F}"/>
              </a:ext>
            </a:extLst>
          </p:cNvPr>
          <p:cNvSpPr>
            <a:spLocks noGrp="1"/>
          </p:cNvSpPr>
          <p:nvPr>
            <p:ph type="ctrTitle"/>
          </p:nvPr>
        </p:nvSpPr>
        <p:spPr>
          <a:xfrm>
            <a:off x="3048000" y="2244726"/>
            <a:ext cx="18288000" cy="4775200"/>
          </a:xfrm>
        </p:spPr>
        <p:txBody>
          <a:bodyPr anchor="b"/>
          <a:lstStyle>
            <a:lvl1pPr algn="ctr">
              <a:defRPr sz="12000"/>
            </a:lvl1pPr>
          </a:lstStyle>
          <a:p>
            <a:r>
              <a:rPr lang="en-US"/>
              <a:t>Click to edit Master title style</a:t>
            </a:r>
            <a:endParaRPr lang="nl-NL"/>
          </a:p>
        </p:txBody>
      </p:sp>
      <p:sp>
        <p:nvSpPr>
          <p:cNvPr id="3" name="Subtitle 2">
            <a:extLst>
              <a:ext uri="{FF2B5EF4-FFF2-40B4-BE49-F238E27FC236}">
                <a16:creationId xmlns:a16="http://schemas.microsoft.com/office/drawing/2014/main" id="{AB9D0A8D-887B-7E5A-E007-934BB6933548}"/>
              </a:ext>
            </a:extLst>
          </p:cNvPr>
          <p:cNvSpPr>
            <a:spLocks noGrp="1"/>
          </p:cNvSpPr>
          <p:nvPr>
            <p:ph type="subTitle" idx="1"/>
          </p:nvPr>
        </p:nvSpPr>
        <p:spPr>
          <a:xfrm>
            <a:off x="3048000" y="7204076"/>
            <a:ext cx="18288000" cy="3311524"/>
          </a:xfrm>
        </p:spPr>
        <p:txBody>
          <a:bodyPr/>
          <a:lstStyle>
            <a:lvl1pPr marL="0" indent="0" algn="ctr">
              <a:buNone/>
              <a:defRPr sz="48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nl-NL"/>
          </a:p>
        </p:txBody>
      </p:sp>
      <p:sp>
        <p:nvSpPr>
          <p:cNvPr id="4" name="Date Placeholder 3">
            <a:extLst>
              <a:ext uri="{FF2B5EF4-FFF2-40B4-BE49-F238E27FC236}">
                <a16:creationId xmlns:a16="http://schemas.microsoft.com/office/drawing/2014/main" id="{44097CAD-CBF0-721E-8928-CDDB3CEE7FE5}"/>
              </a:ext>
            </a:extLst>
          </p:cNvPr>
          <p:cNvSpPr>
            <a:spLocks noGrp="1"/>
          </p:cNvSpPr>
          <p:nvPr>
            <p:ph type="dt" sz="half" idx="10"/>
          </p:nvPr>
        </p:nvSpPr>
        <p:spPr/>
        <p:txBody>
          <a:bodyPr/>
          <a:lstStyle/>
          <a:p>
            <a:fld id="{00CCCBF9-8694-40A2-BA6D-72852F81391D}" type="datetimeFigureOut">
              <a:rPr lang="nl-NL" smtClean="0"/>
              <a:t>13-6-2023</a:t>
            </a:fld>
            <a:endParaRPr lang="nl-NL"/>
          </a:p>
        </p:txBody>
      </p:sp>
      <p:sp>
        <p:nvSpPr>
          <p:cNvPr id="5" name="Footer Placeholder 4">
            <a:extLst>
              <a:ext uri="{FF2B5EF4-FFF2-40B4-BE49-F238E27FC236}">
                <a16:creationId xmlns:a16="http://schemas.microsoft.com/office/drawing/2014/main" id="{3C8C3F51-D943-C40D-56E5-23A1961B89AB}"/>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7A02AB00-2286-EC1E-BA74-53B80982A742}"/>
              </a:ext>
            </a:extLst>
          </p:cNvPr>
          <p:cNvSpPr>
            <a:spLocks noGrp="1"/>
          </p:cNvSpPr>
          <p:nvPr>
            <p:ph type="sldNum" sz="quarter" idx="12"/>
          </p:nvPr>
        </p:nvSpPr>
        <p:spPr/>
        <p:txBody>
          <a:bodyPr/>
          <a:lstStyle/>
          <a:p>
            <a:fld id="{652DB0EE-FDE1-4A0D-BE4A-A2BDC0AC2CC2}" type="slidenum">
              <a:rPr lang="nl-NL" smtClean="0"/>
              <a:t>‹nr.›</a:t>
            </a:fld>
            <a:endParaRPr lang="nl-NL"/>
          </a:p>
        </p:txBody>
      </p:sp>
    </p:spTree>
    <p:extLst>
      <p:ext uri="{BB962C8B-B14F-4D97-AF65-F5344CB8AC3E}">
        <p14:creationId xmlns:p14="http://schemas.microsoft.com/office/powerpoint/2010/main" val="6888126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52756C-74DF-BBF7-47DF-C3C23495B9A2}"/>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D4A91F1A-B374-C3C4-1573-57D1C7D6F29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B13A87CB-B0C1-5431-E23B-788318E4DE01}"/>
              </a:ext>
            </a:extLst>
          </p:cNvPr>
          <p:cNvSpPr>
            <a:spLocks noGrp="1"/>
          </p:cNvSpPr>
          <p:nvPr>
            <p:ph type="dt" sz="half" idx="10"/>
          </p:nvPr>
        </p:nvSpPr>
        <p:spPr/>
        <p:txBody>
          <a:bodyPr/>
          <a:lstStyle/>
          <a:p>
            <a:fld id="{00CCCBF9-8694-40A2-BA6D-72852F81391D}" type="datetimeFigureOut">
              <a:rPr lang="nl-NL" smtClean="0"/>
              <a:t>13-6-2023</a:t>
            </a:fld>
            <a:endParaRPr lang="nl-NL"/>
          </a:p>
        </p:txBody>
      </p:sp>
      <p:sp>
        <p:nvSpPr>
          <p:cNvPr id="5" name="Footer Placeholder 4">
            <a:extLst>
              <a:ext uri="{FF2B5EF4-FFF2-40B4-BE49-F238E27FC236}">
                <a16:creationId xmlns:a16="http://schemas.microsoft.com/office/drawing/2014/main" id="{983B2024-0C63-A376-2BE0-B44E9FEFDA2F}"/>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374F00DA-1BFA-08EF-92E8-34DAE946FF91}"/>
              </a:ext>
            </a:extLst>
          </p:cNvPr>
          <p:cNvSpPr>
            <a:spLocks noGrp="1"/>
          </p:cNvSpPr>
          <p:nvPr>
            <p:ph type="sldNum" sz="quarter" idx="12"/>
          </p:nvPr>
        </p:nvSpPr>
        <p:spPr/>
        <p:txBody>
          <a:bodyPr/>
          <a:lstStyle/>
          <a:p>
            <a:fld id="{652DB0EE-FDE1-4A0D-BE4A-A2BDC0AC2CC2}" type="slidenum">
              <a:rPr lang="nl-NL" smtClean="0"/>
              <a:t>‹nr.›</a:t>
            </a:fld>
            <a:endParaRPr lang="nl-NL"/>
          </a:p>
        </p:txBody>
      </p:sp>
    </p:spTree>
    <p:extLst>
      <p:ext uri="{BB962C8B-B14F-4D97-AF65-F5344CB8AC3E}">
        <p14:creationId xmlns:p14="http://schemas.microsoft.com/office/powerpoint/2010/main" val="221919202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5D017-9156-2772-C774-8D4732A351AB}"/>
              </a:ext>
            </a:extLst>
          </p:cNvPr>
          <p:cNvSpPr>
            <a:spLocks noGrp="1"/>
          </p:cNvSpPr>
          <p:nvPr>
            <p:ph type="title"/>
          </p:nvPr>
        </p:nvSpPr>
        <p:spPr>
          <a:xfrm>
            <a:off x="1663700" y="3419477"/>
            <a:ext cx="21031200" cy="5705474"/>
          </a:xfrm>
        </p:spPr>
        <p:txBody>
          <a:bodyPr anchor="b"/>
          <a:lstStyle>
            <a:lvl1pPr>
              <a:defRPr sz="12000"/>
            </a:lvl1pPr>
          </a:lstStyle>
          <a:p>
            <a:r>
              <a:rPr lang="en-US"/>
              <a:t>Click to edit Master title style</a:t>
            </a:r>
            <a:endParaRPr lang="nl-NL"/>
          </a:p>
        </p:txBody>
      </p:sp>
      <p:sp>
        <p:nvSpPr>
          <p:cNvPr id="3" name="Text Placeholder 2">
            <a:extLst>
              <a:ext uri="{FF2B5EF4-FFF2-40B4-BE49-F238E27FC236}">
                <a16:creationId xmlns:a16="http://schemas.microsoft.com/office/drawing/2014/main" id="{A7CE87CA-381F-C834-5F9F-2B0527CA2117}"/>
              </a:ext>
            </a:extLst>
          </p:cNvPr>
          <p:cNvSpPr>
            <a:spLocks noGrp="1"/>
          </p:cNvSpPr>
          <p:nvPr>
            <p:ph type="body" idx="1"/>
          </p:nvPr>
        </p:nvSpPr>
        <p:spPr>
          <a:xfrm>
            <a:off x="1663700" y="9178927"/>
            <a:ext cx="21031200" cy="3000374"/>
          </a:xfrm>
        </p:spPr>
        <p:txBody>
          <a:bodyPr/>
          <a:lstStyle>
            <a:lvl1pPr marL="0" indent="0">
              <a:buNone/>
              <a:defRPr sz="4800">
                <a:solidFill>
                  <a:schemeClr val="tx1">
                    <a:tint val="75000"/>
                  </a:schemeClr>
                </a:solidFill>
              </a:defRPr>
            </a:lvl1pPr>
            <a:lvl2pPr marL="914400" indent="0">
              <a:buNone/>
              <a:defRPr sz="4000">
                <a:solidFill>
                  <a:schemeClr val="tx1">
                    <a:tint val="75000"/>
                  </a:schemeClr>
                </a:solidFill>
              </a:defRPr>
            </a:lvl2pPr>
            <a:lvl3pPr marL="1828800" indent="0">
              <a:buNone/>
              <a:defRPr sz="3600">
                <a:solidFill>
                  <a:schemeClr val="tx1">
                    <a:tint val="75000"/>
                  </a:schemeClr>
                </a:solidFill>
              </a:defRPr>
            </a:lvl3pPr>
            <a:lvl4pPr marL="2743200" indent="0">
              <a:buNone/>
              <a:defRPr sz="3200">
                <a:solidFill>
                  <a:schemeClr val="tx1">
                    <a:tint val="75000"/>
                  </a:schemeClr>
                </a:solidFill>
              </a:defRPr>
            </a:lvl4pPr>
            <a:lvl5pPr marL="3657600" indent="0">
              <a:buNone/>
              <a:defRPr sz="3200">
                <a:solidFill>
                  <a:schemeClr val="tx1">
                    <a:tint val="75000"/>
                  </a:schemeClr>
                </a:solidFill>
              </a:defRPr>
            </a:lvl5pPr>
            <a:lvl6pPr marL="4572000" indent="0">
              <a:buNone/>
              <a:defRPr sz="3200">
                <a:solidFill>
                  <a:schemeClr val="tx1">
                    <a:tint val="75000"/>
                  </a:schemeClr>
                </a:solidFill>
              </a:defRPr>
            </a:lvl6pPr>
            <a:lvl7pPr marL="5486400" indent="0">
              <a:buNone/>
              <a:defRPr sz="3200">
                <a:solidFill>
                  <a:schemeClr val="tx1">
                    <a:tint val="75000"/>
                  </a:schemeClr>
                </a:solidFill>
              </a:defRPr>
            </a:lvl7pPr>
            <a:lvl8pPr marL="6400800" indent="0">
              <a:buNone/>
              <a:defRPr sz="3200">
                <a:solidFill>
                  <a:schemeClr val="tx1">
                    <a:tint val="75000"/>
                  </a:schemeClr>
                </a:solidFill>
              </a:defRPr>
            </a:lvl8pPr>
            <a:lvl9pPr marL="7315200" indent="0">
              <a:buNone/>
              <a:defRPr sz="3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89D15EA-EE4A-1F19-7A21-F934F9F1B2F6}"/>
              </a:ext>
            </a:extLst>
          </p:cNvPr>
          <p:cNvSpPr>
            <a:spLocks noGrp="1"/>
          </p:cNvSpPr>
          <p:nvPr>
            <p:ph type="dt" sz="half" idx="10"/>
          </p:nvPr>
        </p:nvSpPr>
        <p:spPr/>
        <p:txBody>
          <a:bodyPr/>
          <a:lstStyle/>
          <a:p>
            <a:fld id="{00CCCBF9-8694-40A2-BA6D-72852F81391D}" type="datetimeFigureOut">
              <a:rPr lang="nl-NL" smtClean="0"/>
              <a:t>13-6-2023</a:t>
            </a:fld>
            <a:endParaRPr lang="nl-NL"/>
          </a:p>
        </p:txBody>
      </p:sp>
      <p:sp>
        <p:nvSpPr>
          <p:cNvPr id="5" name="Footer Placeholder 4">
            <a:extLst>
              <a:ext uri="{FF2B5EF4-FFF2-40B4-BE49-F238E27FC236}">
                <a16:creationId xmlns:a16="http://schemas.microsoft.com/office/drawing/2014/main" id="{BC0AAE73-1B72-800D-C70A-E62399FBD989}"/>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8FB78459-48F6-69F6-B345-01CC1F06A570}"/>
              </a:ext>
            </a:extLst>
          </p:cNvPr>
          <p:cNvSpPr>
            <a:spLocks noGrp="1"/>
          </p:cNvSpPr>
          <p:nvPr>
            <p:ph type="sldNum" sz="quarter" idx="12"/>
          </p:nvPr>
        </p:nvSpPr>
        <p:spPr/>
        <p:txBody>
          <a:bodyPr/>
          <a:lstStyle/>
          <a:p>
            <a:fld id="{652DB0EE-FDE1-4A0D-BE4A-A2BDC0AC2CC2}" type="slidenum">
              <a:rPr lang="nl-NL" smtClean="0"/>
              <a:t>‹nr.›</a:t>
            </a:fld>
            <a:endParaRPr lang="nl-NL"/>
          </a:p>
        </p:txBody>
      </p:sp>
    </p:spTree>
    <p:extLst>
      <p:ext uri="{BB962C8B-B14F-4D97-AF65-F5344CB8AC3E}">
        <p14:creationId xmlns:p14="http://schemas.microsoft.com/office/powerpoint/2010/main" val="212592857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48F99D-DE52-9082-5FE8-FEA17F50A999}"/>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FDCBDD79-0DB2-593D-66A4-4645DB05AE7E}"/>
              </a:ext>
            </a:extLst>
          </p:cNvPr>
          <p:cNvSpPr>
            <a:spLocks noGrp="1"/>
          </p:cNvSpPr>
          <p:nvPr>
            <p:ph sz="half" idx="1"/>
          </p:nvPr>
        </p:nvSpPr>
        <p:spPr>
          <a:xfrm>
            <a:off x="1676400" y="3651250"/>
            <a:ext cx="10363200" cy="87026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Content Placeholder 3">
            <a:extLst>
              <a:ext uri="{FF2B5EF4-FFF2-40B4-BE49-F238E27FC236}">
                <a16:creationId xmlns:a16="http://schemas.microsoft.com/office/drawing/2014/main" id="{F3B0E5CD-3DFC-9858-CAC5-02FEA062E0B2}"/>
              </a:ext>
            </a:extLst>
          </p:cNvPr>
          <p:cNvSpPr>
            <a:spLocks noGrp="1"/>
          </p:cNvSpPr>
          <p:nvPr>
            <p:ph sz="half" idx="2"/>
          </p:nvPr>
        </p:nvSpPr>
        <p:spPr>
          <a:xfrm>
            <a:off x="12344400" y="3651250"/>
            <a:ext cx="10363200" cy="87026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Date Placeholder 4">
            <a:extLst>
              <a:ext uri="{FF2B5EF4-FFF2-40B4-BE49-F238E27FC236}">
                <a16:creationId xmlns:a16="http://schemas.microsoft.com/office/drawing/2014/main" id="{A46D9733-9BC7-84FD-5D2E-0141A78A3F23}"/>
              </a:ext>
            </a:extLst>
          </p:cNvPr>
          <p:cNvSpPr>
            <a:spLocks noGrp="1"/>
          </p:cNvSpPr>
          <p:nvPr>
            <p:ph type="dt" sz="half" idx="10"/>
          </p:nvPr>
        </p:nvSpPr>
        <p:spPr/>
        <p:txBody>
          <a:bodyPr/>
          <a:lstStyle/>
          <a:p>
            <a:fld id="{00CCCBF9-8694-40A2-BA6D-72852F81391D}" type="datetimeFigureOut">
              <a:rPr lang="nl-NL" smtClean="0"/>
              <a:t>13-6-2023</a:t>
            </a:fld>
            <a:endParaRPr lang="nl-NL"/>
          </a:p>
        </p:txBody>
      </p:sp>
      <p:sp>
        <p:nvSpPr>
          <p:cNvPr id="6" name="Footer Placeholder 5">
            <a:extLst>
              <a:ext uri="{FF2B5EF4-FFF2-40B4-BE49-F238E27FC236}">
                <a16:creationId xmlns:a16="http://schemas.microsoft.com/office/drawing/2014/main" id="{84E9DA70-B06B-0D19-F461-85E386B6B104}"/>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69ABF54E-D448-4EAA-1A3B-555AE541EBD5}"/>
              </a:ext>
            </a:extLst>
          </p:cNvPr>
          <p:cNvSpPr>
            <a:spLocks noGrp="1"/>
          </p:cNvSpPr>
          <p:nvPr>
            <p:ph type="sldNum" sz="quarter" idx="12"/>
          </p:nvPr>
        </p:nvSpPr>
        <p:spPr/>
        <p:txBody>
          <a:bodyPr/>
          <a:lstStyle/>
          <a:p>
            <a:fld id="{652DB0EE-FDE1-4A0D-BE4A-A2BDC0AC2CC2}" type="slidenum">
              <a:rPr lang="nl-NL" smtClean="0"/>
              <a:t>‹nr.›</a:t>
            </a:fld>
            <a:endParaRPr lang="nl-NL"/>
          </a:p>
        </p:txBody>
      </p:sp>
    </p:spTree>
    <p:extLst>
      <p:ext uri="{BB962C8B-B14F-4D97-AF65-F5344CB8AC3E}">
        <p14:creationId xmlns:p14="http://schemas.microsoft.com/office/powerpoint/2010/main" val="13558563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cSld name="Titel Wit">
    <p:spTree>
      <p:nvGrpSpPr>
        <p:cNvPr id="1" name=""/>
        <p:cNvGrpSpPr/>
        <p:nvPr/>
      </p:nvGrpSpPr>
      <p:grpSpPr>
        <a:xfrm>
          <a:off x="0" y="0"/>
          <a:ext cx="0" cy="0"/>
          <a:chOff x="0" y="0"/>
          <a:chExt cx="0" cy="0"/>
        </a:xfrm>
      </p:grpSpPr>
      <p:sp>
        <p:nvSpPr>
          <p:cNvPr id="11" name="Auteur en datum"/>
          <p:cNvSpPr txBox="1">
            <a:spLocks noGrp="1"/>
          </p:cNvSpPr>
          <p:nvPr>
            <p:ph type="body" sz="quarter" idx="21" hasCustomPrompt="1"/>
          </p:nvPr>
        </p:nvSpPr>
        <p:spPr>
          <a:xfrm>
            <a:off x="2459736" y="10633820"/>
            <a:ext cx="19732753" cy="713231"/>
          </a:xfrm>
          <a:prstGeom prst="rect">
            <a:avLst/>
          </a:prstGeom>
        </p:spPr>
        <p:txBody>
          <a:bodyPr lIns="216000" tIns="45719" rIns="45719" bIns="45719" anchor="b">
            <a:noAutofit/>
          </a:bodyPr>
          <a:lstStyle>
            <a:lvl1pPr marL="0" indent="0" defTabSz="825500">
              <a:lnSpc>
                <a:spcPct val="100000"/>
              </a:lnSpc>
              <a:spcBef>
                <a:spcPts val="0"/>
              </a:spcBef>
              <a:buSzTx/>
              <a:buNone/>
              <a:defRPr sz="4000" b="0">
                <a:latin typeface="+mn-lt"/>
              </a:defRPr>
            </a:lvl1pPr>
          </a:lstStyle>
          <a:p>
            <a:r>
              <a:rPr lang="nl-NL"/>
              <a:t>Auteurs</a:t>
            </a:r>
            <a:endParaRPr/>
          </a:p>
        </p:txBody>
      </p:sp>
      <p:sp>
        <p:nvSpPr>
          <p:cNvPr id="12" name="Naam presentatie"/>
          <p:cNvSpPr txBox="1">
            <a:spLocks noGrp="1"/>
          </p:cNvSpPr>
          <p:nvPr>
            <p:ph type="title" hasCustomPrompt="1"/>
          </p:nvPr>
        </p:nvSpPr>
        <p:spPr>
          <a:xfrm>
            <a:off x="2505456" y="6629400"/>
            <a:ext cx="19732753" cy="1517905"/>
          </a:xfrm>
          <a:prstGeom prst="rect">
            <a:avLst/>
          </a:prstGeom>
        </p:spPr>
        <p:txBody>
          <a:bodyPr lIns="144000" anchor="t">
            <a:noAutofit/>
          </a:bodyPr>
          <a:lstStyle>
            <a:lvl1pPr>
              <a:defRPr sz="12000" b="0" spc="0" baseline="0">
                <a:latin typeface="+mj-lt"/>
              </a:defRPr>
            </a:lvl1pPr>
          </a:lstStyle>
          <a:p>
            <a:r>
              <a:rPr lang="nl-NL"/>
              <a:t>Titel</a:t>
            </a:r>
            <a:endParaRPr/>
          </a:p>
        </p:txBody>
      </p:sp>
      <p:sp>
        <p:nvSpPr>
          <p:cNvPr id="13" name="Hoofdtekst - niveau één…"/>
          <p:cNvSpPr txBox="1">
            <a:spLocks noGrp="1"/>
          </p:cNvSpPr>
          <p:nvPr>
            <p:ph type="body" sz="quarter" idx="1" hasCustomPrompt="1"/>
          </p:nvPr>
        </p:nvSpPr>
        <p:spPr>
          <a:xfrm>
            <a:off x="2496312" y="2569464"/>
            <a:ext cx="19741897" cy="4059936"/>
          </a:xfrm>
          <a:prstGeom prst="rect">
            <a:avLst/>
          </a:prstGeom>
        </p:spPr>
        <p:txBody>
          <a:bodyPr lIns="108000" bIns="0" anchor="b">
            <a:noAutofit/>
          </a:bodyPr>
          <a:lstStyle>
            <a:lvl1pPr marL="0" indent="0" defTabSz="825500">
              <a:lnSpc>
                <a:spcPct val="100000"/>
              </a:lnSpc>
              <a:spcBef>
                <a:spcPts val="0"/>
              </a:spcBef>
              <a:buSzTx/>
              <a:buNone/>
              <a:defRPr sz="12200" b="0" spc="110" baseline="0"/>
            </a:lvl1pPr>
            <a:lvl2pPr marL="0" indent="0" defTabSz="825500">
              <a:lnSpc>
                <a:spcPct val="100000"/>
              </a:lnSpc>
              <a:spcBef>
                <a:spcPts val="0"/>
              </a:spcBef>
              <a:buSzTx/>
              <a:buNone/>
              <a:defRPr sz="5500" b="1"/>
            </a:lvl2pPr>
            <a:lvl3pPr marL="0" indent="0" defTabSz="825500">
              <a:lnSpc>
                <a:spcPct val="100000"/>
              </a:lnSpc>
              <a:spcBef>
                <a:spcPts val="0"/>
              </a:spcBef>
              <a:buSzTx/>
              <a:buNone/>
              <a:defRPr sz="5500" b="1"/>
            </a:lvl3pPr>
            <a:lvl4pPr marL="0" indent="0" defTabSz="825500">
              <a:lnSpc>
                <a:spcPct val="100000"/>
              </a:lnSpc>
              <a:spcBef>
                <a:spcPts val="0"/>
              </a:spcBef>
              <a:buSzTx/>
              <a:buNone/>
              <a:defRPr sz="5500" b="1"/>
            </a:lvl4pPr>
            <a:lvl5pPr marL="0" indent="0" defTabSz="825500">
              <a:lnSpc>
                <a:spcPct val="100000"/>
              </a:lnSpc>
              <a:spcBef>
                <a:spcPts val="0"/>
              </a:spcBef>
              <a:buSzTx/>
              <a:buNone/>
              <a:defRPr sz="5500" b="1"/>
            </a:lvl5pPr>
          </a:lstStyle>
          <a:p>
            <a:r>
              <a:rPr lang="nl-NL"/>
              <a:t>Subtitel</a:t>
            </a:r>
            <a:endParaRPr/>
          </a:p>
        </p:txBody>
      </p:sp>
      <p:sp>
        <p:nvSpPr>
          <p:cNvPr id="9" name="Tijdelijke aanduiding voor datum 4">
            <a:extLst>
              <a:ext uri="{FF2B5EF4-FFF2-40B4-BE49-F238E27FC236}">
                <a16:creationId xmlns:a16="http://schemas.microsoft.com/office/drawing/2014/main" id="{1AB02A12-0190-465E-B00A-B91F85BC46FC}"/>
              </a:ext>
            </a:extLst>
          </p:cNvPr>
          <p:cNvSpPr>
            <a:spLocks noGrp="1"/>
          </p:cNvSpPr>
          <p:nvPr>
            <p:ph type="dt" sz="half" idx="22"/>
          </p:nvPr>
        </p:nvSpPr>
        <p:spPr>
          <a:xfrm>
            <a:off x="2459736" y="11367879"/>
            <a:ext cx="19732752" cy="730250"/>
          </a:xfrm>
          <a:prstGeom prst="rect">
            <a:avLst/>
          </a:prstGeom>
        </p:spPr>
        <p:txBody>
          <a:bodyPr vert="horz" lIns="180000" tIns="45720" rIns="91440" bIns="45720" rtlCol="0" anchor="ctr"/>
          <a:lstStyle>
            <a:lvl1pPr algn="l">
              <a:defRPr sz="3200">
                <a:solidFill>
                  <a:schemeClr val="tx1"/>
                </a:solidFill>
              </a:defRPr>
            </a:lvl1pPr>
          </a:lstStyle>
          <a:p>
            <a:fld id="{848C9476-A8F6-43D9-84F7-3E32148F6953}" type="datetimeFigureOut">
              <a:rPr lang="nl-NL" smtClean="0"/>
              <a:pPr/>
              <a:t>13-6-2023</a:t>
            </a:fld>
            <a:endParaRPr lang="nl-NL"/>
          </a:p>
        </p:txBody>
      </p:sp>
      <p:pic>
        <p:nvPicPr>
          <p:cNvPr id="10" name="Graphic 9">
            <a:extLst>
              <a:ext uri="{FF2B5EF4-FFF2-40B4-BE49-F238E27FC236}">
                <a16:creationId xmlns:a16="http://schemas.microsoft.com/office/drawing/2014/main" id="{99EE1BB2-4598-48D9-BADB-36FFD29FB68B}"/>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7010" y="413369"/>
            <a:ext cx="2165251" cy="2165251"/>
          </a:xfrm>
          <a:prstGeom prst="rect">
            <a:avLst/>
          </a:prstGeom>
        </p:spPr>
      </p:pic>
      <p:sp>
        <p:nvSpPr>
          <p:cNvPr id="15" name="Dianummer">
            <a:extLst>
              <a:ext uri="{FF2B5EF4-FFF2-40B4-BE49-F238E27FC236}">
                <a16:creationId xmlns:a16="http://schemas.microsoft.com/office/drawing/2014/main" id="{DD9E9E95-4EFD-465B-827C-440AFE28FA80}"/>
              </a:ext>
            </a:extLst>
          </p:cNvPr>
          <p:cNvSpPr txBox="1">
            <a:spLocks noGrp="1"/>
          </p:cNvSpPr>
          <p:nvPr>
            <p:ph type="sldNum" sz="quarter" idx="2"/>
          </p:nvPr>
        </p:nvSpPr>
        <p:spPr>
          <a:xfrm>
            <a:off x="23177500" y="13807440"/>
            <a:ext cx="811276" cy="441146"/>
          </a:xfrm>
          <a:prstGeom prst="rect">
            <a:avLst/>
          </a:prstGeom>
          <a:ln w="12700">
            <a:miter lim="400000"/>
          </a:ln>
        </p:spPr>
        <p:txBody>
          <a:bodyPr wrap="square" lIns="50800" tIns="50800" rIns="50800" bIns="50800" anchor="b">
            <a:spAutoFit/>
          </a:bodyPr>
          <a:lstStyle>
            <a:lvl1pPr algn="r" defTabSz="584200">
              <a:lnSpc>
                <a:spcPct val="100000"/>
              </a:lnSpc>
              <a:spcBef>
                <a:spcPts val="0"/>
              </a:spcBef>
              <a:defRPr sz="2200">
                <a:solidFill>
                  <a:schemeClr val="tx1"/>
                </a:solidFill>
                <a:latin typeface="+mn-lt"/>
                <a:ea typeface="Source Sans Pro" panose="020B0503030403020204" pitchFamily="34" charset="0"/>
              </a:defRPr>
            </a:lvl1pPr>
          </a:lstStyle>
          <a:p>
            <a:fld id="{86CB4B4D-7CA3-9044-876B-883B54F8677D}" type="slidenum">
              <a:rPr lang="nl-NL" smtClean="0"/>
              <a:pPr/>
              <a:t>‹nr.›</a:t>
            </a:fld>
            <a:endParaRPr lang="nl-NL"/>
          </a:p>
        </p:txBody>
      </p:sp>
      <p:sp>
        <p:nvSpPr>
          <p:cNvPr id="17" name="Tijdelijke aanduiding voor voettekst 5">
            <a:extLst>
              <a:ext uri="{FF2B5EF4-FFF2-40B4-BE49-F238E27FC236}">
                <a16:creationId xmlns:a16="http://schemas.microsoft.com/office/drawing/2014/main" id="{D9E51095-8B9A-495E-8659-6E1960A6D521}"/>
              </a:ext>
            </a:extLst>
          </p:cNvPr>
          <p:cNvSpPr>
            <a:spLocks noGrp="1"/>
          </p:cNvSpPr>
          <p:nvPr>
            <p:ph type="ftr" sz="quarter" idx="3"/>
          </p:nvPr>
        </p:nvSpPr>
        <p:spPr>
          <a:xfrm>
            <a:off x="4532186" y="13807440"/>
            <a:ext cx="18139156" cy="441146"/>
          </a:xfrm>
          <a:prstGeom prst="rect">
            <a:avLst/>
          </a:prstGeom>
        </p:spPr>
        <p:txBody>
          <a:bodyPr vert="horz" lIns="91440" tIns="45720" rIns="91440" bIns="45720" rtlCol="0" anchor="ctr"/>
          <a:lstStyle>
            <a:lvl1pPr algn="l">
              <a:defRPr sz="2200">
                <a:solidFill>
                  <a:schemeClr val="tx1"/>
                </a:solidFill>
                <a:latin typeface="+mn-lt"/>
              </a:defRPr>
            </a:lvl1pPr>
          </a:lstStyle>
          <a:p>
            <a:r>
              <a:rPr lang="nl-NL"/>
              <a:t>Hoofdstuktitel (Pas aan in voettekst &gt; invoegen &gt; Koptekst en voettekst</a:t>
            </a:r>
          </a:p>
        </p:txBody>
      </p:sp>
    </p:spTree>
  </p:cSld>
  <p:clrMapOvr>
    <a:masterClrMapping/>
  </p:clrMapOvr>
  <p:transition spd="med"/>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17BE4B-E7A6-E6A6-46F8-1EEC380F2CC7}"/>
              </a:ext>
            </a:extLst>
          </p:cNvPr>
          <p:cNvSpPr>
            <a:spLocks noGrp="1"/>
          </p:cNvSpPr>
          <p:nvPr>
            <p:ph type="title"/>
          </p:nvPr>
        </p:nvSpPr>
        <p:spPr>
          <a:xfrm>
            <a:off x="1679576" y="730251"/>
            <a:ext cx="21031200" cy="2651126"/>
          </a:xfrm>
        </p:spPr>
        <p:txBody>
          <a:bodyPr/>
          <a:lstStyle/>
          <a:p>
            <a:r>
              <a:rPr lang="en-US"/>
              <a:t>Click to edit Master title style</a:t>
            </a:r>
            <a:endParaRPr lang="nl-NL"/>
          </a:p>
        </p:txBody>
      </p:sp>
      <p:sp>
        <p:nvSpPr>
          <p:cNvPr id="3" name="Text Placeholder 2">
            <a:extLst>
              <a:ext uri="{FF2B5EF4-FFF2-40B4-BE49-F238E27FC236}">
                <a16:creationId xmlns:a16="http://schemas.microsoft.com/office/drawing/2014/main" id="{2DF1300C-1740-D23D-C5CA-5C00D967ABF1}"/>
              </a:ext>
            </a:extLst>
          </p:cNvPr>
          <p:cNvSpPr>
            <a:spLocks noGrp="1"/>
          </p:cNvSpPr>
          <p:nvPr>
            <p:ph type="body" idx="1"/>
          </p:nvPr>
        </p:nvSpPr>
        <p:spPr>
          <a:xfrm>
            <a:off x="1679577" y="3362326"/>
            <a:ext cx="10315574"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Click to edit Master text styles</a:t>
            </a:r>
          </a:p>
        </p:txBody>
      </p:sp>
      <p:sp>
        <p:nvSpPr>
          <p:cNvPr id="4" name="Content Placeholder 3">
            <a:extLst>
              <a:ext uri="{FF2B5EF4-FFF2-40B4-BE49-F238E27FC236}">
                <a16:creationId xmlns:a16="http://schemas.microsoft.com/office/drawing/2014/main" id="{27295DD8-C227-D6F7-E962-AEE76E817EDB}"/>
              </a:ext>
            </a:extLst>
          </p:cNvPr>
          <p:cNvSpPr>
            <a:spLocks noGrp="1"/>
          </p:cNvSpPr>
          <p:nvPr>
            <p:ph sz="half" idx="2"/>
          </p:nvPr>
        </p:nvSpPr>
        <p:spPr>
          <a:xfrm>
            <a:off x="1679577" y="5010150"/>
            <a:ext cx="10315574" cy="7369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Text Placeholder 4">
            <a:extLst>
              <a:ext uri="{FF2B5EF4-FFF2-40B4-BE49-F238E27FC236}">
                <a16:creationId xmlns:a16="http://schemas.microsoft.com/office/drawing/2014/main" id="{9978F2B7-8FD4-E98A-BD6F-86D7CEDDEDA2}"/>
              </a:ext>
            </a:extLst>
          </p:cNvPr>
          <p:cNvSpPr>
            <a:spLocks noGrp="1"/>
          </p:cNvSpPr>
          <p:nvPr>
            <p:ph type="body" sz="quarter" idx="3"/>
          </p:nvPr>
        </p:nvSpPr>
        <p:spPr>
          <a:xfrm>
            <a:off x="12344400" y="3362326"/>
            <a:ext cx="10366376"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Click to edit Master text styles</a:t>
            </a:r>
          </a:p>
        </p:txBody>
      </p:sp>
      <p:sp>
        <p:nvSpPr>
          <p:cNvPr id="6" name="Content Placeholder 5">
            <a:extLst>
              <a:ext uri="{FF2B5EF4-FFF2-40B4-BE49-F238E27FC236}">
                <a16:creationId xmlns:a16="http://schemas.microsoft.com/office/drawing/2014/main" id="{FA95F2BA-986C-6661-F8A3-801878CE2257}"/>
              </a:ext>
            </a:extLst>
          </p:cNvPr>
          <p:cNvSpPr>
            <a:spLocks noGrp="1"/>
          </p:cNvSpPr>
          <p:nvPr>
            <p:ph sz="quarter" idx="4"/>
          </p:nvPr>
        </p:nvSpPr>
        <p:spPr>
          <a:xfrm>
            <a:off x="12344400" y="5010150"/>
            <a:ext cx="10366376" cy="73691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Date Placeholder 6">
            <a:extLst>
              <a:ext uri="{FF2B5EF4-FFF2-40B4-BE49-F238E27FC236}">
                <a16:creationId xmlns:a16="http://schemas.microsoft.com/office/drawing/2014/main" id="{774742EA-C605-982F-0D14-020E4DCF1E4D}"/>
              </a:ext>
            </a:extLst>
          </p:cNvPr>
          <p:cNvSpPr>
            <a:spLocks noGrp="1"/>
          </p:cNvSpPr>
          <p:nvPr>
            <p:ph type="dt" sz="half" idx="10"/>
          </p:nvPr>
        </p:nvSpPr>
        <p:spPr/>
        <p:txBody>
          <a:bodyPr/>
          <a:lstStyle/>
          <a:p>
            <a:fld id="{00CCCBF9-8694-40A2-BA6D-72852F81391D}" type="datetimeFigureOut">
              <a:rPr lang="nl-NL" smtClean="0"/>
              <a:t>13-6-2023</a:t>
            </a:fld>
            <a:endParaRPr lang="nl-NL"/>
          </a:p>
        </p:txBody>
      </p:sp>
      <p:sp>
        <p:nvSpPr>
          <p:cNvPr id="8" name="Footer Placeholder 7">
            <a:extLst>
              <a:ext uri="{FF2B5EF4-FFF2-40B4-BE49-F238E27FC236}">
                <a16:creationId xmlns:a16="http://schemas.microsoft.com/office/drawing/2014/main" id="{FD5D8F57-E99E-556B-3E25-138AB5BB76D6}"/>
              </a:ext>
            </a:extLst>
          </p:cNvPr>
          <p:cNvSpPr>
            <a:spLocks noGrp="1"/>
          </p:cNvSpPr>
          <p:nvPr>
            <p:ph type="ftr" sz="quarter" idx="11"/>
          </p:nvPr>
        </p:nvSpPr>
        <p:spPr/>
        <p:txBody>
          <a:bodyPr/>
          <a:lstStyle/>
          <a:p>
            <a:endParaRPr lang="nl-NL"/>
          </a:p>
        </p:txBody>
      </p:sp>
      <p:sp>
        <p:nvSpPr>
          <p:cNvPr id="9" name="Slide Number Placeholder 8">
            <a:extLst>
              <a:ext uri="{FF2B5EF4-FFF2-40B4-BE49-F238E27FC236}">
                <a16:creationId xmlns:a16="http://schemas.microsoft.com/office/drawing/2014/main" id="{7F8F3255-11B6-FA54-9150-E5E4E65BC241}"/>
              </a:ext>
            </a:extLst>
          </p:cNvPr>
          <p:cNvSpPr>
            <a:spLocks noGrp="1"/>
          </p:cNvSpPr>
          <p:nvPr>
            <p:ph type="sldNum" sz="quarter" idx="12"/>
          </p:nvPr>
        </p:nvSpPr>
        <p:spPr/>
        <p:txBody>
          <a:bodyPr/>
          <a:lstStyle/>
          <a:p>
            <a:fld id="{652DB0EE-FDE1-4A0D-BE4A-A2BDC0AC2CC2}" type="slidenum">
              <a:rPr lang="nl-NL" smtClean="0"/>
              <a:t>‹nr.›</a:t>
            </a:fld>
            <a:endParaRPr lang="nl-NL"/>
          </a:p>
        </p:txBody>
      </p:sp>
    </p:spTree>
    <p:extLst>
      <p:ext uri="{BB962C8B-B14F-4D97-AF65-F5344CB8AC3E}">
        <p14:creationId xmlns:p14="http://schemas.microsoft.com/office/powerpoint/2010/main" val="36669852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5DBF35-5B9D-E7AB-2812-014B58F42249}"/>
              </a:ext>
            </a:extLst>
          </p:cNvPr>
          <p:cNvSpPr>
            <a:spLocks noGrp="1"/>
          </p:cNvSpPr>
          <p:nvPr>
            <p:ph type="title"/>
          </p:nvPr>
        </p:nvSpPr>
        <p:spPr/>
        <p:txBody>
          <a:bodyPr/>
          <a:lstStyle/>
          <a:p>
            <a:r>
              <a:rPr lang="en-US"/>
              <a:t>Click to edit Master title style</a:t>
            </a:r>
            <a:endParaRPr lang="nl-NL"/>
          </a:p>
        </p:txBody>
      </p:sp>
      <p:sp>
        <p:nvSpPr>
          <p:cNvPr id="3" name="Date Placeholder 2">
            <a:extLst>
              <a:ext uri="{FF2B5EF4-FFF2-40B4-BE49-F238E27FC236}">
                <a16:creationId xmlns:a16="http://schemas.microsoft.com/office/drawing/2014/main" id="{28B320BA-9E6C-961E-72A2-946AC6083B0A}"/>
              </a:ext>
            </a:extLst>
          </p:cNvPr>
          <p:cNvSpPr>
            <a:spLocks noGrp="1"/>
          </p:cNvSpPr>
          <p:nvPr>
            <p:ph type="dt" sz="half" idx="10"/>
          </p:nvPr>
        </p:nvSpPr>
        <p:spPr/>
        <p:txBody>
          <a:bodyPr/>
          <a:lstStyle/>
          <a:p>
            <a:fld id="{00CCCBF9-8694-40A2-BA6D-72852F81391D}" type="datetimeFigureOut">
              <a:rPr lang="nl-NL" smtClean="0"/>
              <a:t>13-6-2023</a:t>
            </a:fld>
            <a:endParaRPr lang="nl-NL"/>
          </a:p>
        </p:txBody>
      </p:sp>
      <p:sp>
        <p:nvSpPr>
          <p:cNvPr id="4" name="Footer Placeholder 3">
            <a:extLst>
              <a:ext uri="{FF2B5EF4-FFF2-40B4-BE49-F238E27FC236}">
                <a16:creationId xmlns:a16="http://schemas.microsoft.com/office/drawing/2014/main" id="{43FDBD7A-66D5-22DB-95BD-E94164FE73BA}"/>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F56867F3-3D45-4554-1913-E2A3AAAA3C3D}"/>
              </a:ext>
            </a:extLst>
          </p:cNvPr>
          <p:cNvSpPr>
            <a:spLocks noGrp="1"/>
          </p:cNvSpPr>
          <p:nvPr>
            <p:ph type="sldNum" sz="quarter" idx="12"/>
          </p:nvPr>
        </p:nvSpPr>
        <p:spPr/>
        <p:txBody>
          <a:bodyPr/>
          <a:lstStyle/>
          <a:p>
            <a:fld id="{652DB0EE-FDE1-4A0D-BE4A-A2BDC0AC2CC2}" type="slidenum">
              <a:rPr lang="nl-NL" smtClean="0"/>
              <a:t>‹nr.›</a:t>
            </a:fld>
            <a:endParaRPr lang="nl-NL"/>
          </a:p>
        </p:txBody>
      </p:sp>
    </p:spTree>
    <p:extLst>
      <p:ext uri="{BB962C8B-B14F-4D97-AF65-F5344CB8AC3E}">
        <p14:creationId xmlns:p14="http://schemas.microsoft.com/office/powerpoint/2010/main" val="47994589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F83DAF5-2592-3A29-CAF8-008328096BDF}"/>
              </a:ext>
            </a:extLst>
          </p:cNvPr>
          <p:cNvSpPr>
            <a:spLocks noGrp="1"/>
          </p:cNvSpPr>
          <p:nvPr>
            <p:ph type="dt" sz="half" idx="10"/>
          </p:nvPr>
        </p:nvSpPr>
        <p:spPr/>
        <p:txBody>
          <a:bodyPr/>
          <a:lstStyle/>
          <a:p>
            <a:fld id="{00CCCBF9-8694-40A2-BA6D-72852F81391D}" type="datetimeFigureOut">
              <a:rPr lang="nl-NL" smtClean="0"/>
              <a:t>13-6-2023</a:t>
            </a:fld>
            <a:endParaRPr lang="nl-NL"/>
          </a:p>
        </p:txBody>
      </p:sp>
      <p:sp>
        <p:nvSpPr>
          <p:cNvPr id="3" name="Footer Placeholder 2">
            <a:extLst>
              <a:ext uri="{FF2B5EF4-FFF2-40B4-BE49-F238E27FC236}">
                <a16:creationId xmlns:a16="http://schemas.microsoft.com/office/drawing/2014/main" id="{8BCCA42F-2159-16B6-A77B-CFA93B6650F0}"/>
              </a:ext>
            </a:extLst>
          </p:cNvPr>
          <p:cNvSpPr>
            <a:spLocks noGrp="1"/>
          </p:cNvSpPr>
          <p:nvPr>
            <p:ph type="ftr" sz="quarter" idx="11"/>
          </p:nvPr>
        </p:nvSpPr>
        <p:spPr/>
        <p:txBody>
          <a:bodyPr/>
          <a:lstStyle/>
          <a:p>
            <a:endParaRPr lang="nl-NL"/>
          </a:p>
        </p:txBody>
      </p:sp>
      <p:sp>
        <p:nvSpPr>
          <p:cNvPr id="4" name="Slide Number Placeholder 3">
            <a:extLst>
              <a:ext uri="{FF2B5EF4-FFF2-40B4-BE49-F238E27FC236}">
                <a16:creationId xmlns:a16="http://schemas.microsoft.com/office/drawing/2014/main" id="{4831DCBA-814E-CF50-B74F-725DDEE7ABB9}"/>
              </a:ext>
            </a:extLst>
          </p:cNvPr>
          <p:cNvSpPr>
            <a:spLocks noGrp="1"/>
          </p:cNvSpPr>
          <p:nvPr>
            <p:ph type="sldNum" sz="quarter" idx="12"/>
          </p:nvPr>
        </p:nvSpPr>
        <p:spPr/>
        <p:txBody>
          <a:bodyPr/>
          <a:lstStyle/>
          <a:p>
            <a:fld id="{652DB0EE-FDE1-4A0D-BE4A-A2BDC0AC2CC2}" type="slidenum">
              <a:rPr lang="nl-NL" smtClean="0"/>
              <a:t>‹nr.›</a:t>
            </a:fld>
            <a:endParaRPr lang="nl-NL"/>
          </a:p>
        </p:txBody>
      </p:sp>
    </p:spTree>
    <p:extLst>
      <p:ext uri="{BB962C8B-B14F-4D97-AF65-F5344CB8AC3E}">
        <p14:creationId xmlns:p14="http://schemas.microsoft.com/office/powerpoint/2010/main" val="27295869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DE552-B6BC-05F9-9E1A-A8C39206DC91}"/>
              </a:ext>
            </a:extLst>
          </p:cNvPr>
          <p:cNvSpPr>
            <a:spLocks noGrp="1"/>
          </p:cNvSpPr>
          <p:nvPr>
            <p:ph type="title"/>
          </p:nvPr>
        </p:nvSpPr>
        <p:spPr>
          <a:xfrm>
            <a:off x="1679577" y="914400"/>
            <a:ext cx="7864474" cy="3200400"/>
          </a:xfrm>
        </p:spPr>
        <p:txBody>
          <a:bodyPr anchor="b"/>
          <a:lstStyle>
            <a:lvl1pPr>
              <a:defRPr sz="6400"/>
            </a:lvl1pPr>
          </a:lstStyle>
          <a:p>
            <a:r>
              <a:rPr lang="en-US"/>
              <a:t>Click to edit Master title style</a:t>
            </a:r>
            <a:endParaRPr lang="nl-NL"/>
          </a:p>
        </p:txBody>
      </p:sp>
      <p:sp>
        <p:nvSpPr>
          <p:cNvPr id="3" name="Content Placeholder 2">
            <a:extLst>
              <a:ext uri="{FF2B5EF4-FFF2-40B4-BE49-F238E27FC236}">
                <a16:creationId xmlns:a16="http://schemas.microsoft.com/office/drawing/2014/main" id="{B2667792-8CF8-0980-1872-8D660B64187F}"/>
              </a:ext>
            </a:extLst>
          </p:cNvPr>
          <p:cNvSpPr>
            <a:spLocks noGrp="1"/>
          </p:cNvSpPr>
          <p:nvPr>
            <p:ph idx="1"/>
          </p:nvPr>
        </p:nvSpPr>
        <p:spPr>
          <a:xfrm>
            <a:off x="10366376" y="1974851"/>
            <a:ext cx="12344400" cy="9747250"/>
          </a:xfrm>
        </p:spPr>
        <p:txBody>
          <a:bodyPr/>
          <a:lstStyle>
            <a:lvl1pPr>
              <a:defRPr sz="6400"/>
            </a:lvl1pPr>
            <a:lvl2pPr>
              <a:defRPr sz="5600"/>
            </a:lvl2pPr>
            <a:lvl3pPr>
              <a:defRPr sz="4800"/>
            </a:lvl3pPr>
            <a:lvl4pPr>
              <a:defRPr sz="4000"/>
            </a:lvl4pPr>
            <a:lvl5pPr>
              <a:defRPr sz="4000"/>
            </a:lvl5pPr>
            <a:lvl6pPr>
              <a:defRPr sz="4000"/>
            </a:lvl6pPr>
            <a:lvl7pPr>
              <a:defRPr sz="4000"/>
            </a:lvl7pPr>
            <a:lvl8pPr>
              <a:defRPr sz="4000"/>
            </a:lvl8pPr>
            <a:lvl9pPr>
              <a:defRPr sz="4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Text Placeholder 3">
            <a:extLst>
              <a:ext uri="{FF2B5EF4-FFF2-40B4-BE49-F238E27FC236}">
                <a16:creationId xmlns:a16="http://schemas.microsoft.com/office/drawing/2014/main" id="{F6B53603-EE3A-0D4B-36A5-734596611FB7}"/>
              </a:ext>
            </a:extLst>
          </p:cNvPr>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Click to edit Master text styles</a:t>
            </a:r>
          </a:p>
        </p:txBody>
      </p:sp>
      <p:sp>
        <p:nvSpPr>
          <p:cNvPr id="5" name="Date Placeholder 4">
            <a:extLst>
              <a:ext uri="{FF2B5EF4-FFF2-40B4-BE49-F238E27FC236}">
                <a16:creationId xmlns:a16="http://schemas.microsoft.com/office/drawing/2014/main" id="{61F1C6CC-F30B-6D6B-5DCF-7690FF2A4AD8}"/>
              </a:ext>
            </a:extLst>
          </p:cNvPr>
          <p:cNvSpPr>
            <a:spLocks noGrp="1"/>
          </p:cNvSpPr>
          <p:nvPr>
            <p:ph type="dt" sz="half" idx="10"/>
          </p:nvPr>
        </p:nvSpPr>
        <p:spPr/>
        <p:txBody>
          <a:bodyPr/>
          <a:lstStyle/>
          <a:p>
            <a:fld id="{00CCCBF9-8694-40A2-BA6D-72852F81391D}" type="datetimeFigureOut">
              <a:rPr lang="nl-NL" smtClean="0"/>
              <a:t>13-6-2023</a:t>
            </a:fld>
            <a:endParaRPr lang="nl-NL"/>
          </a:p>
        </p:txBody>
      </p:sp>
      <p:sp>
        <p:nvSpPr>
          <p:cNvPr id="6" name="Footer Placeholder 5">
            <a:extLst>
              <a:ext uri="{FF2B5EF4-FFF2-40B4-BE49-F238E27FC236}">
                <a16:creationId xmlns:a16="http://schemas.microsoft.com/office/drawing/2014/main" id="{85476693-D4D0-8339-7C51-A0D5EAB01158}"/>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B5AC017F-FC35-AF52-7555-F5BD1178BC0A}"/>
              </a:ext>
            </a:extLst>
          </p:cNvPr>
          <p:cNvSpPr>
            <a:spLocks noGrp="1"/>
          </p:cNvSpPr>
          <p:nvPr>
            <p:ph type="sldNum" sz="quarter" idx="12"/>
          </p:nvPr>
        </p:nvSpPr>
        <p:spPr/>
        <p:txBody>
          <a:bodyPr/>
          <a:lstStyle/>
          <a:p>
            <a:fld id="{652DB0EE-FDE1-4A0D-BE4A-A2BDC0AC2CC2}" type="slidenum">
              <a:rPr lang="nl-NL" smtClean="0"/>
              <a:t>‹nr.›</a:t>
            </a:fld>
            <a:endParaRPr lang="nl-NL"/>
          </a:p>
        </p:txBody>
      </p:sp>
    </p:spTree>
    <p:extLst>
      <p:ext uri="{BB962C8B-B14F-4D97-AF65-F5344CB8AC3E}">
        <p14:creationId xmlns:p14="http://schemas.microsoft.com/office/powerpoint/2010/main" val="24148032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491838-5996-E4B8-2679-1F606589A626}"/>
              </a:ext>
            </a:extLst>
          </p:cNvPr>
          <p:cNvSpPr>
            <a:spLocks noGrp="1"/>
          </p:cNvSpPr>
          <p:nvPr>
            <p:ph type="title"/>
          </p:nvPr>
        </p:nvSpPr>
        <p:spPr>
          <a:xfrm>
            <a:off x="1679577" y="914400"/>
            <a:ext cx="7864474" cy="3200400"/>
          </a:xfrm>
        </p:spPr>
        <p:txBody>
          <a:bodyPr anchor="b"/>
          <a:lstStyle>
            <a:lvl1pPr>
              <a:defRPr sz="6400"/>
            </a:lvl1pPr>
          </a:lstStyle>
          <a:p>
            <a:r>
              <a:rPr lang="en-US"/>
              <a:t>Click to edit Master title style</a:t>
            </a:r>
            <a:endParaRPr lang="nl-NL"/>
          </a:p>
        </p:txBody>
      </p:sp>
      <p:sp>
        <p:nvSpPr>
          <p:cNvPr id="3" name="Picture Placeholder 2">
            <a:extLst>
              <a:ext uri="{FF2B5EF4-FFF2-40B4-BE49-F238E27FC236}">
                <a16:creationId xmlns:a16="http://schemas.microsoft.com/office/drawing/2014/main" id="{325BD2D9-4201-C525-8E21-2EAC148276CA}"/>
              </a:ext>
            </a:extLst>
          </p:cNvPr>
          <p:cNvSpPr>
            <a:spLocks noGrp="1"/>
          </p:cNvSpPr>
          <p:nvPr>
            <p:ph type="pic" idx="1"/>
          </p:nvPr>
        </p:nvSpPr>
        <p:spPr>
          <a:xfrm>
            <a:off x="10366376" y="1974851"/>
            <a:ext cx="12344400" cy="9747250"/>
          </a:xfrm>
        </p:spPr>
        <p:txBody>
          <a:bodyPr/>
          <a:lstStyle>
            <a:lvl1pPr marL="0" indent="0">
              <a:buNone/>
              <a:defRPr sz="6400"/>
            </a:lvl1pPr>
            <a:lvl2pPr marL="914400" indent="0">
              <a:buNone/>
              <a:defRPr sz="5600"/>
            </a:lvl2pPr>
            <a:lvl3pPr marL="1828800" indent="0">
              <a:buNone/>
              <a:defRPr sz="4800"/>
            </a:lvl3pPr>
            <a:lvl4pPr marL="2743200" indent="0">
              <a:buNone/>
              <a:defRPr sz="4000"/>
            </a:lvl4pPr>
            <a:lvl5pPr marL="3657600" indent="0">
              <a:buNone/>
              <a:defRPr sz="4000"/>
            </a:lvl5pPr>
            <a:lvl6pPr marL="4572000" indent="0">
              <a:buNone/>
              <a:defRPr sz="4000"/>
            </a:lvl6pPr>
            <a:lvl7pPr marL="5486400" indent="0">
              <a:buNone/>
              <a:defRPr sz="4000"/>
            </a:lvl7pPr>
            <a:lvl8pPr marL="6400800" indent="0">
              <a:buNone/>
              <a:defRPr sz="4000"/>
            </a:lvl8pPr>
            <a:lvl9pPr marL="7315200" indent="0">
              <a:buNone/>
              <a:defRPr sz="4000"/>
            </a:lvl9pPr>
          </a:lstStyle>
          <a:p>
            <a:endParaRPr lang="nl-NL"/>
          </a:p>
        </p:txBody>
      </p:sp>
      <p:sp>
        <p:nvSpPr>
          <p:cNvPr id="4" name="Text Placeholder 3">
            <a:extLst>
              <a:ext uri="{FF2B5EF4-FFF2-40B4-BE49-F238E27FC236}">
                <a16:creationId xmlns:a16="http://schemas.microsoft.com/office/drawing/2014/main" id="{8D3E9B1A-A154-63F8-9620-A3FDB414DA20}"/>
              </a:ext>
            </a:extLst>
          </p:cNvPr>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US"/>
              <a:t>Click to edit Master text styles</a:t>
            </a:r>
          </a:p>
        </p:txBody>
      </p:sp>
      <p:sp>
        <p:nvSpPr>
          <p:cNvPr id="5" name="Date Placeholder 4">
            <a:extLst>
              <a:ext uri="{FF2B5EF4-FFF2-40B4-BE49-F238E27FC236}">
                <a16:creationId xmlns:a16="http://schemas.microsoft.com/office/drawing/2014/main" id="{66F87FBD-5CFA-A351-7CCA-7CD4FE0E97F1}"/>
              </a:ext>
            </a:extLst>
          </p:cNvPr>
          <p:cNvSpPr>
            <a:spLocks noGrp="1"/>
          </p:cNvSpPr>
          <p:nvPr>
            <p:ph type="dt" sz="half" idx="10"/>
          </p:nvPr>
        </p:nvSpPr>
        <p:spPr/>
        <p:txBody>
          <a:bodyPr/>
          <a:lstStyle/>
          <a:p>
            <a:fld id="{00CCCBF9-8694-40A2-BA6D-72852F81391D}" type="datetimeFigureOut">
              <a:rPr lang="nl-NL" smtClean="0"/>
              <a:t>13-6-2023</a:t>
            </a:fld>
            <a:endParaRPr lang="nl-NL"/>
          </a:p>
        </p:txBody>
      </p:sp>
      <p:sp>
        <p:nvSpPr>
          <p:cNvPr id="6" name="Footer Placeholder 5">
            <a:extLst>
              <a:ext uri="{FF2B5EF4-FFF2-40B4-BE49-F238E27FC236}">
                <a16:creationId xmlns:a16="http://schemas.microsoft.com/office/drawing/2014/main" id="{51F25B82-D9EA-C720-ADDD-441F3075C3EE}"/>
              </a:ext>
            </a:extLst>
          </p:cNvPr>
          <p:cNvSpPr>
            <a:spLocks noGrp="1"/>
          </p:cNvSpPr>
          <p:nvPr>
            <p:ph type="ftr" sz="quarter" idx="11"/>
          </p:nvPr>
        </p:nvSpPr>
        <p:spPr/>
        <p:txBody>
          <a:bodyPr/>
          <a:lstStyle/>
          <a:p>
            <a:endParaRPr lang="nl-NL"/>
          </a:p>
        </p:txBody>
      </p:sp>
      <p:sp>
        <p:nvSpPr>
          <p:cNvPr id="7" name="Slide Number Placeholder 6">
            <a:extLst>
              <a:ext uri="{FF2B5EF4-FFF2-40B4-BE49-F238E27FC236}">
                <a16:creationId xmlns:a16="http://schemas.microsoft.com/office/drawing/2014/main" id="{2C3B71C4-E507-4561-0CB6-E1145A7746F4}"/>
              </a:ext>
            </a:extLst>
          </p:cNvPr>
          <p:cNvSpPr>
            <a:spLocks noGrp="1"/>
          </p:cNvSpPr>
          <p:nvPr>
            <p:ph type="sldNum" sz="quarter" idx="12"/>
          </p:nvPr>
        </p:nvSpPr>
        <p:spPr/>
        <p:txBody>
          <a:bodyPr/>
          <a:lstStyle/>
          <a:p>
            <a:fld id="{652DB0EE-FDE1-4A0D-BE4A-A2BDC0AC2CC2}" type="slidenum">
              <a:rPr lang="nl-NL" smtClean="0"/>
              <a:t>‹nr.›</a:t>
            </a:fld>
            <a:endParaRPr lang="nl-NL"/>
          </a:p>
        </p:txBody>
      </p:sp>
    </p:spTree>
    <p:extLst>
      <p:ext uri="{BB962C8B-B14F-4D97-AF65-F5344CB8AC3E}">
        <p14:creationId xmlns:p14="http://schemas.microsoft.com/office/powerpoint/2010/main" val="119445895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87EF30-B60F-BD42-7FA9-92142A08564A}"/>
              </a:ext>
            </a:extLst>
          </p:cNvPr>
          <p:cNvSpPr>
            <a:spLocks noGrp="1"/>
          </p:cNvSpPr>
          <p:nvPr>
            <p:ph type="title"/>
          </p:nvPr>
        </p:nvSpPr>
        <p:spPr/>
        <p:txBody>
          <a:bodyPr/>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65FDA677-804A-C175-75DB-A7062EF01B0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496C8B47-679B-E803-BFE9-D26B7374D34A}"/>
              </a:ext>
            </a:extLst>
          </p:cNvPr>
          <p:cNvSpPr>
            <a:spLocks noGrp="1"/>
          </p:cNvSpPr>
          <p:nvPr>
            <p:ph type="dt" sz="half" idx="10"/>
          </p:nvPr>
        </p:nvSpPr>
        <p:spPr/>
        <p:txBody>
          <a:bodyPr/>
          <a:lstStyle/>
          <a:p>
            <a:fld id="{00CCCBF9-8694-40A2-BA6D-72852F81391D}" type="datetimeFigureOut">
              <a:rPr lang="nl-NL" smtClean="0"/>
              <a:t>13-6-2023</a:t>
            </a:fld>
            <a:endParaRPr lang="nl-NL"/>
          </a:p>
        </p:txBody>
      </p:sp>
      <p:sp>
        <p:nvSpPr>
          <p:cNvPr id="5" name="Footer Placeholder 4">
            <a:extLst>
              <a:ext uri="{FF2B5EF4-FFF2-40B4-BE49-F238E27FC236}">
                <a16:creationId xmlns:a16="http://schemas.microsoft.com/office/drawing/2014/main" id="{E86C4B54-7CBE-F244-C7C0-75DBA4CB2BDC}"/>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18F81062-EDE9-B2CC-38E4-2817197C2E02}"/>
              </a:ext>
            </a:extLst>
          </p:cNvPr>
          <p:cNvSpPr>
            <a:spLocks noGrp="1"/>
          </p:cNvSpPr>
          <p:nvPr>
            <p:ph type="sldNum" sz="quarter" idx="12"/>
          </p:nvPr>
        </p:nvSpPr>
        <p:spPr/>
        <p:txBody>
          <a:bodyPr/>
          <a:lstStyle/>
          <a:p>
            <a:fld id="{652DB0EE-FDE1-4A0D-BE4A-A2BDC0AC2CC2}" type="slidenum">
              <a:rPr lang="nl-NL" smtClean="0"/>
              <a:t>‹nr.›</a:t>
            </a:fld>
            <a:endParaRPr lang="nl-NL"/>
          </a:p>
        </p:txBody>
      </p:sp>
    </p:spTree>
    <p:extLst>
      <p:ext uri="{BB962C8B-B14F-4D97-AF65-F5344CB8AC3E}">
        <p14:creationId xmlns:p14="http://schemas.microsoft.com/office/powerpoint/2010/main" val="20821194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60FF43B-D08D-ABA3-57B8-D40C5B699F5B}"/>
              </a:ext>
            </a:extLst>
          </p:cNvPr>
          <p:cNvSpPr>
            <a:spLocks noGrp="1"/>
          </p:cNvSpPr>
          <p:nvPr>
            <p:ph type="title" orient="vert"/>
          </p:nvPr>
        </p:nvSpPr>
        <p:spPr>
          <a:xfrm>
            <a:off x="17449800" y="730250"/>
            <a:ext cx="5257800" cy="11623676"/>
          </a:xfrm>
        </p:spPr>
        <p:txBody>
          <a:bodyPr vert="eaVert"/>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8C6E7C4B-8CD7-A106-7F0A-08E2BDD968D5}"/>
              </a:ext>
            </a:extLst>
          </p:cNvPr>
          <p:cNvSpPr>
            <a:spLocks noGrp="1"/>
          </p:cNvSpPr>
          <p:nvPr>
            <p:ph type="body" orient="vert" idx="1"/>
          </p:nvPr>
        </p:nvSpPr>
        <p:spPr>
          <a:xfrm>
            <a:off x="1676400" y="730250"/>
            <a:ext cx="15468600" cy="1162367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C41A590E-E291-5988-A7F3-CCD8685C1C4E}"/>
              </a:ext>
            </a:extLst>
          </p:cNvPr>
          <p:cNvSpPr>
            <a:spLocks noGrp="1"/>
          </p:cNvSpPr>
          <p:nvPr>
            <p:ph type="dt" sz="half" idx="10"/>
          </p:nvPr>
        </p:nvSpPr>
        <p:spPr/>
        <p:txBody>
          <a:bodyPr/>
          <a:lstStyle/>
          <a:p>
            <a:fld id="{00CCCBF9-8694-40A2-BA6D-72852F81391D}" type="datetimeFigureOut">
              <a:rPr lang="nl-NL" smtClean="0"/>
              <a:t>13-6-2023</a:t>
            </a:fld>
            <a:endParaRPr lang="nl-NL"/>
          </a:p>
        </p:txBody>
      </p:sp>
      <p:sp>
        <p:nvSpPr>
          <p:cNvPr id="5" name="Footer Placeholder 4">
            <a:extLst>
              <a:ext uri="{FF2B5EF4-FFF2-40B4-BE49-F238E27FC236}">
                <a16:creationId xmlns:a16="http://schemas.microsoft.com/office/drawing/2014/main" id="{30464A1F-01FB-C7A9-1053-E75522F62B15}"/>
              </a:ext>
            </a:extLst>
          </p:cNvPr>
          <p:cNvSpPr>
            <a:spLocks noGrp="1"/>
          </p:cNvSpPr>
          <p:nvPr>
            <p:ph type="ftr" sz="quarter" idx="11"/>
          </p:nvPr>
        </p:nvSpPr>
        <p:spPr/>
        <p:txBody>
          <a:bodyPr/>
          <a:lstStyle/>
          <a:p>
            <a:endParaRPr lang="nl-NL"/>
          </a:p>
        </p:txBody>
      </p:sp>
      <p:sp>
        <p:nvSpPr>
          <p:cNvPr id="6" name="Slide Number Placeholder 5">
            <a:extLst>
              <a:ext uri="{FF2B5EF4-FFF2-40B4-BE49-F238E27FC236}">
                <a16:creationId xmlns:a16="http://schemas.microsoft.com/office/drawing/2014/main" id="{10A9424F-E3C0-DB50-D008-AFD1D542722B}"/>
              </a:ext>
            </a:extLst>
          </p:cNvPr>
          <p:cNvSpPr>
            <a:spLocks noGrp="1"/>
          </p:cNvSpPr>
          <p:nvPr>
            <p:ph type="sldNum" sz="quarter" idx="12"/>
          </p:nvPr>
        </p:nvSpPr>
        <p:spPr/>
        <p:txBody>
          <a:bodyPr/>
          <a:lstStyle/>
          <a:p>
            <a:fld id="{652DB0EE-FDE1-4A0D-BE4A-A2BDC0AC2CC2}" type="slidenum">
              <a:rPr lang="nl-NL" smtClean="0"/>
              <a:t>‹nr.›</a:t>
            </a:fld>
            <a:endParaRPr lang="nl-NL"/>
          </a:p>
        </p:txBody>
      </p:sp>
    </p:spTree>
    <p:extLst>
      <p:ext uri="{BB962C8B-B14F-4D97-AF65-F5344CB8AC3E}">
        <p14:creationId xmlns:p14="http://schemas.microsoft.com/office/powerpoint/2010/main" val="62957321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Slide - 1">
    <p:spTree>
      <p:nvGrpSpPr>
        <p:cNvPr id="1" name=""/>
        <p:cNvGrpSpPr/>
        <p:nvPr/>
      </p:nvGrpSpPr>
      <p:grpSpPr>
        <a:xfrm>
          <a:off x="0" y="0"/>
          <a:ext cx="0" cy="0"/>
          <a:chOff x="0" y="0"/>
          <a:chExt cx="0" cy="0"/>
        </a:xfrm>
      </p:grpSpPr>
      <p:pic>
        <p:nvPicPr>
          <p:cNvPr id="22" name="Picture 21" descr="01DRIFT.jpg"/>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24400934" cy="13716000"/>
          </a:xfrm>
          <a:prstGeom prst="rect">
            <a:avLst/>
          </a:prstGeom>
        </p:spPr>
      </p:pic>
      <p:sp>
        <p:nvSpPr>
          <p:cNvPr id="4" name="Rectangle 3"/>
          <p:cNvSpPr/>
          <p:nvPr userDrawn="1"/>
        </p:nvSpPr>
        <p:spPr>
          <a:xfrm>
            <a:off x="2071138" y="3531807"/>
            <a:ext cx="4097432" cy="229810"/>
          </a:xfrm>
          <a:prstGeom prst="rect">
            <a:avLst/>
          </a:prstGeom>
          <a:solidFill>
            <a:schemeClr val="bg1"/>
          </a:solidFill>
          <a:ln>
            <a:noFill/>
          </a:ln>
          <a:effectLst/>
        </p:spPr>
        <p:style>
          <a:lnRef idx="1">
            <a:schemeClr val="dk1"/>
          </a:lnRef>
          <a:fillRef idx="3">
            <a:schemeClr val="dk1"/>
          </a:fillRef>
          <a:effectRef idx="2">
            <a:schemeClr val="dk1"/>
          </a:effectRef>
          <a:fontRef idx="minor">
            <a:schemeClr val="lt1"/>
          </a:fontRef>
        </p:style>
        <p:txBody>
          <a:bodyPr/>
          <a:lstStyle/>
          <a:p>
            <a:endParaRPr lang="en-US" sz="4800">
              <a:solidFill>
                <a:schemeClr val="bg1"/>
              </a:solidFill>
            </a:endParaRPr>
          </a:p>
        </p:txBody>
      </p:sp>
      <p:sp>
        <p:nvSpPr>
          <p:cNvPr id="5" name="Rectangle 4"/>
          <p:cNvSpPr/>
          <p:nvPr userDrawn="1"/>
        </p:nvSpPr>
        <p:spPr>
          <a:xfrm>
            <a:off x="15243825" y="3531807"/>
            <a:ext cx="1958562" cy="229810"/>
          </a:xfrm>
          <a:prstGeom prst="rect">
            <a:avLst/>
          </a:prstGeom>
          <a:solidFill>
            <a:schemeClr val="bg1"/>
          </a:solidFill>
          <a:ln>
            <a:noFill/>
          </a:ln>
          <a:effectLst/>
        </p:spPr>
        <p:style>
          <a:lnRef idx="1">
            <a:schemeClr val="dk1"/>
          </a:lnRef>
          <a:fillRef idx="3">
            <a:schemeClr val="dk1"/>
          </a:fillRef>
          <a:effectRef idx="2">
            <a:schemeClr val="dk1"/>
          </a:effectRef>
          <a:fontRef idx="minor">
            <a:schemeClr val="lt1"/>
          </a:fontRef>
        </p:style>
        <p:txBody>
          <a:bodyPr/>
          <a:lstStyle/>
          <a:p>
            <a:endParaRPr lang="en-US" sz="4800">
              <a:solidFill>
                <a:schemeClr val="bg1"/>
              </a:solidFill>
            </a:endParaRPr>
          </a:p>
        </p:txBody>
      </p:sp>
      <p:sp>
        <p:nvSpPr>
          <p:cNvPr id="6" name="Rectangle 5"/>
          <p:cNvSpPr/>
          <p:nvPr userDrawn="1"/>
        </p:nvSpPr>
        <p:spPr>
          <a:xfrm>
            <a:off x="15167862" y="7549843"/>
            <a:ext cx="2621816" cy="229810"/>
          </a:xfrm>
          <a:prstGeom prst="rect">
            <a:avLst/>
          </a:prstGeom>
          <a:solidFill>
            <a:schemeClr val="bg1"/>
          </a:solidFill>
          <a:ln>
            <a:noFill/>
          </a:ln>
          <a:effectLst/>
        </p:spPr>
        <p:style>
          <a:lnRef idx="1">
            <a:schemeClr val="dk1"/>
          </a:lnRef>
          <a:fillRef idx="3">
            <a:schemeClr val="dk1"/>
          </a:fillRef>
          <a:effectRef idx="2">
            <a:schemeClr val="dk1"/>
          </a:effectRef>
          <a:fontRef idx="minor">
            <a:schemeClr val="lt1"/>
          </a:fontRef>
        </p:style>
        <p:txBody>
          <a:bodyPr/>
          <a:lstStyle/>
          <a:p>
            <a:endParaRPr lang="en-US" sz="4800">
              <a:solidFill>
                <a:schemeClr val="bg1"/>
              </a:solidFill>
            </a:endParaRPr>
          </a:p>
        </p:txBody>
      </p:sp>
      <p:pic>
        <p:nvPicPr>
          <p:cNvPr id="10" name="Picture 9" descr="drift-logo-horizontaal-wit.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71137" y="1179831"/>
            <a:ext cx="5735130" cy="1071902"/>
          </a:xfrm>
          <a:prstGeom prst="rect">
            <a:avLst/>
          </a:prstGeom>
        </p:spPr>
      </p:pic>
      <p:sp>
        <p:nvSpPr>
          <p:cNvPr id="17" name="Text Placeholder 11"/>
          <p:cNvSpPr>
            <a:spLocks noGrp="1"/>
          </p:cNvSpPr>
          <p:nvPr>
            <p:ph type="body" sz="quarter" idx="10" hasCustomPrompt="1"/>
          </p:nvPr>
        </p:nvSpPr>
        <p:spPr>
          <a:xfrm>
            <a:off x="1830810" y="3691467"/>
            <a:ext cx="10418232" cy="7509934"/>
          </a:xfrm>
          <a:prstGeom prst="rect">
            <a:avLst/>
          </a:prstGeom>
        </p:spPr>
        <p:txBody>
          <a:bodyPr/>
          <a:lstStyle>
            <a:lvl1pPr marL="0" indent="0">
              <a:buNone/>
              <a:defRPr sz="10134" b="1" baseline="0">
                <a:solidFill>
                  <a:schemeClr val="bg1"/>
                </a:solidFill>
                <a:latin typeface="Campton Book" panose="00000800000000000000" pitchFamily="50" charset="0"/>
              </a:defRPr>
            </a:lvl1pPr>
            <a:lvl2pPr marL="1219170" indent="0">
              <a:buNone/>
              <a:defRPr sz="8534">
                <a:solidFill>
                  <a:schemeClr val="bg1"/>
                </a:solidFill>
                <a:latin typeface="Campton Book" panose="00000800000000000000" pitchFamily="50" charset="0"/>
              </a:defRPr>
            </a:lvl2pPr>
            <a:lvl3pPr marL="2438340" indent="0">
              <a:buNone/>
              <a:defRPr sz="8534">
                <a:solidFill>
                  <a:schemeClr val="bg1"/>
                </a:solidFill>
                <a:latin typeface="Campton Book" panose="00000800000000000000" pitchFamily="50" charset="0"/>
              </a:defRPr>
            </a:lvl3pPr>
            <a:lvl4pPr marL="3657508" indent="0">
              <a:buNone/>
              <a:defRPr sz="8534">
                <a:solidFill>
                  <a:schemeClr val="bg1"/>
                </a:solidFill>
                <a:latin typeface="Campton Book" panose="00000800000000000000" pitchFamily="50" charset="0"/>
              </a:defRPr>
            </a:lvl4pPr>
            <a:lvl5pPr marL="4876678" indent="0">
              <a:buNone/>
              <a:defRPr sz="8534">
                <a:solidFill>
                  <a:schemeClr val="bg1"/>
                </a:solidFill>
                <a:latin typeface="Campton Book" panose="00000800000000000000" pitchFamily="50" charset="0"/>
              </a:defRPr>
            </a:lvl5pPr>
          </a:lstStyle>
          <a:p>
            <a:pPr lvl="0"/>
            <a:r>
              <a:rPr lang="en-US" dirty="0"/>
              <a:t>Click to enter title of presentation</a:t>
            </a:r>
          </a:p>
        </p:txBody>
      </p:sp>
      <p:sp>
        <p:nvSpPr>
          <p:cNvPr id="24" name="Text Placeholder 18"/>
          <p:cNvSpPr>
            <a:spLocks noGrp="1"/>
          </p:cNvSpPr>
          <p:nvPr>
            <p:ph type="body" sz="quarter" idx="13" hasCustomPrompt="1"/>
          </p:nvPr>
        </p:nvSpPr>
        <p:spPr>
          <a:xfrm>
            <a:off x="14907621" y="8655569"/>
            <a:ext cx="6902514" cy="1985202"/>
          </a:xfrm>
          <a:prstGeom prst="rect">
            <a:avLst/>
          </a:prstGeom>
        </p:spPr>
        <p:txBody>
          <a:bodyPr/>
          <a:lstStyle>
            <a:lvl1pPr marL="0" indent="0">
              <a:buNone/>
              <a:defRPr lang="en-US" sz="3200" kern="1200" baseline="0" dirty="0" smtClean="0">
                <a:solidFill>
                  <a:schemeClr val="bg1"/>
                </a:solidFill>
                <a:latin typeface="Campton Light" panose="00000400000000000000" pitchFamily="50" charset="0"/>
                <a:ea typeface="+mn-ea"/>
                <a:cs typeface="Campton Light" panose="00000400000000000000" pitchFamily="50" charset="0"/>
              </a:defRPr>
            </a:lvl1pPr>
          </a:lstStyle>
          <a:p>
            <a:pPr lvl="0"/>
            <a:r>
              <a:rPr lang="en-US" dirty="0"/>
              <a:t>20th march 2017</a:t>
            </a:r>
          </a:p>
          <a:p>
            <a:pPr lvl="0"/>
            <a:r>
              <a:rPr lang="en-US" dirty="0"/>
              <a:t>London, UK</a:t>
            </a:r>
          </a:p>
        </p:txBody>
      </p:sp>
      <p:sp>
        <p:nvSpPr>
          <p:cNvPr id="13" name="Text Placeholder 18"/>
          <p:cNvSpPr>
            <a:spLocks noGrp="1"/>
          </p:cNvSpPr>
          <p:nvPr>
            <p:ph type="body" sz="quarter" idx="14" hasCustomPrompt="1"/>
          </p:nvPr>
        </p:nvSpPr>
        <p:spPr>
          <a:xfrm>
            <a:off x="14886414" y="7804185"/>
            <a:ext cx="6923720" cy="923954"/>
          </a:xfrm>
          <a:prstGeom prst="rect">
            <a:avLst/>
          </a:prstGeom>
        </p:spPr>
        <p:txBody>
          <a:bodyPr/>
          <a:lstStyle>
            <a:lvl1pPr marL="0" indent="0">
              <a:buNone/>
              <a:defRPr lang="en-US" sz="4266" b="1" kern="1200" baseline="0" dirty="0" smtClean="0">
                <a:solidFill>
                  <a:schemeClr val="bg1"/>
                </a:solidFill>
                <a:latin typeface="Campton Book" panose="00000800000000000000" pitchFamily="50" charset="0"/>
                <a:ea typeface="+mn-ea"/>
                <a:cs typeface="Campton Book" panose="00000800000000000000" pitchFamily="50" charset="0"/>
              </a:defRPr>
            </a:lvl1pPr>
          </a:lstStyle>
          <a:p>
            <a:pPr lvl="0"/>
            <a:r>
              <a:rPr lang="en-US" dirty="0"/>
              <a:t>date / location</a:t>
            </a:r>
          </a:p>
        </p:txBody>
      </p:sp>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8542005" y="10200017"/>
            <a:ext cx="5858930" cy="3515986"/>
          </a:xfrm>
          <a:prstGeom prst="rect">
            <a:avLst/>
          </a:prstGeom>
        </p:spPr>
      </p:pic>
      <p:sp>
        <p:nvSpPr>
          <p:cNvPr id="14" name="Text Placeholder 18"/>
          <p:cNvSpPr>
            <a:spLocks noGrp="1"/>
          </p:cNvSpPr>
          <p:nvPr>
            <p:ph type="body" sz="quarter" idx="11" hasCustomPrompt="1"/>
          </p:nvPr>
        </p:nvSpPr>
        <p:spPr>
          <a:xfrm>
            <a:off x="14981547" y="3819317"/>
            <a:ext cx="6828590" cy="3156250"/>
          </a:xfrm>
          <a:prstGeom prst="rect">
            <a:avLst/>
          </a:prstGeom>
        </p:spPr>
        <p:txBody>
          <a:bodyPr/>
          <a:lstStyle>
            <a:lvl1pPr marL="0" indent="0">
              <a:buNone/>
              <a:defRPr lang="en-US" sz="4266" b="1" kern="1200" baseline="0" dirty="0" smtClean="0">
                <a:solidFill>
                  <a:schemeClr val="bg1"/>
                </a:solidFill>
                <a:latin typeface="Campton Book" panose="00000800000000000000" pitchFamily="50" charset="0"/>
                <a:ea typeface="+mn-ea"/>
                <a:cs typeface="Campton Book" panose="00000800000000000000" pitchFamily="50" charset="0"/>
              </a:defRPr>
            </a:lvl1pPr>
          </a:lstStyle>
          <a:p>
            <a:pPr lvl="0"/>
            <a:r>
              <a:rPr lang="en-US" dirty="0"/>
              <a:t>Name (bold)</a:t>
            </a:r>
          </a:p>
        </p:txBody>
      </p:sp>
    </p:spTree>
    <p:extLst>
      <p:ext uri="{BB962C8B-B14F-4D97-AF65-F5344CB8AC3E}">
        <p14:creationId xmlns:p14="http://schemas.microsoft.com/office/powerpoint/2010/main" val="151068935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eader slide - blue">
    <p:spTree>
      <p:nvGrpSpPr>
        <p:cNvPr id="1" name=""/>
        <p:cNvGrpSpPr/>
        <p:nvPr/>
      </p:nvGrpSpPr>
      <p:grpSpPr>
        <a:xfrm>
          <a:off x="0" y="0"/>
          <a:ext cx="0" cy="0"/>
          <a:chOff x="0" y="0"/>
          <a:chExt cx="0" cy="0"/>
        </a:xfrm>
      </p:grpSpPr>
      <p:sp>
        <p:nvSpPr>
          <p:cNvPr id="3" name="SmartArt Placeholder 2"/>
          <p:cNvSpPr>
            <a:spLocks noGrp="1"/>
          </p:cNvSpPr>
          <p:nvPr>
            <p:ph type="dgm" sz="quarter" idx="12" hasCustomPrompt="1"/>
          </p:nvPr>
        </p:nvSpPr>
        <p:spPr>
          <a:xfrm>
            <a:off x="0" y="3263902"/>
            <a:ext cx="24384000" cy="6968064"/>
          </a:xfrm>
          <a:prstGeom prst="rect">
            <a:avLst/>
          </a:prstGeom>
          <a:solidFill>
            <a:schemeClr val="accent1"/>
          </a:solidFill>
          <a:ln>
            <a:noFill/>
          </a:ln>
        </p:spPr>
        <p:txBody>
          <a:bodyPr/>
          <a:lstStyle>
            <a:lvl1pPr marL="0" indent="0">
              <a:buNone/>
              <a:defRPr sz="4800"/>
            </a:lvl1pPr>
          </a:lstStyle>
          <a:p>
            <a:r>
              <a:rPr lang="nl-NL" dirty="0"/>
              <a:t> </a:t>
            </a:r>
            <a:endParaRPr lang="en-GB" dirty="0"/>
          </a:p>
        </p:txBody>
      </p:sp>
      <p:sp>
        <p:nvSpPr>
          <p:cNvPr id="14" name="Title 13"/>
          <p:cNvSpPr>
            <a:spLocks noGrp="1"/>
          </p:cNvSpPr>
          <p:nvPr>
            <p:ph type="title" hasCustomPrompt="1"/>
          </p:nvPr>
        </p:nvSpPr>
        <p:spPr>
          <a:xfrm>
            <a:off x="1815728" y="5465675"/>
            <a:ext cx="20701840" cy="1398278"/>
          </a:xfrm>
          <a:prstGeom prst="rect">
            <a:avLst/>
          </a:prstGeom>
        </p:spPr>
        <p:txBody>
          <a:bodyPr/>
          <a:lstStyle>
            <a:lvl1pPr>
              <a:defRPr sz="6400" b="0">
                <a:solidFill>
                  <a:schemeClr val="bg1"/>
                </a:solidFill>
                <a:latin typeface="Campton Light" panose="00000400000000000000" pitchFamily="50" charset="0"/>
              </a:defRPr>
            </a:lvl1pPr>
          </a:lstStyle>
          <a:p>
            <a:r>
              <a:rPr lang="en-US" dirty="0"/>
              <a:t>Subsection title</a:t>
            </a:r>
            <a:endParaRPr lang="en-GB" dirty="0"/>
          </a:p>
        </p:txBody>
      </p:sp>
      <p:sp>
        <p:nvSpPr>
          <p:cNvPr id="16" name="Text Placeholder 15"/>
          <p:cNvSpPr>
            <a:spLocks noGrp="1"/>
          </p:cNvSpPr>
          <p:nvPr>
            <p:ph type="body" sz="quarter" idx="11" hasCustomPrompt="1"/>
          </p:nvPr>
        </p:nvSpPr>
        <p:spPr>
          <a:xfrm>
            <a:off x="1815731" y="6595534"/>
            <a:ext cx="20701470" cy="3636432"/>
          </a:xfrm>
          <a:prstGeom prst="rect">
            <a:avLst/>
          </a:prstGeom>
        </p:spPr>
        <p:txBody>
          <a:bodyPr/>
          <a:lstStyle>
            <a:lvl1pPr marL="0" indent="0">
              <a:buNone/>
              <a:defRPr sz="10666" b="1" baseline="0">
                <a:solidFill>
                  <a:schemeClr val="bg1"/>
                </a:solidFill>
                <a:latin typeface="Campton Book" panose="00000800000000000000" pitchFamily="50" charset="0"/>
              </a:defRPr>
            </a:lvl1pPr>
            <a:lvl2pPr>
              <a:defRPr sz="3734">
                <a:latin typeface="Campton Light" panose="00000400000000000000" pitchFamily="50" charset="0"/>
              </a:defRPr>
            </a:lvl2pPr>
            <a:lvl3pPr>
              <a:defRPr sz="3200">
                <a:latin typeface="Campton Light" panose="00000400000000000000" pitchFamily="50" charset="0"/>
              </a:defRPr>
            </a:lvl3pPr>
            <a:lvl4pPr>
              <a:defRPr sz="2934">
                <a:latin typeface="Campton Light" panose="00000400000000000000" pitchFamily="50" charset="0"/>
              </a:defRPr>
            </a:lvl4pPr>
            <a:lvl5pPr>
              <a:defRPr sz="2934">
                <a:latin typeface="Campton Light" panose="00000400000000000000" pitchFamily="50" charset="0"/>
              </a:defRPr>
            </a:lvl5pPr>
          </a:lstStyle>
          <a:p>
            <a:pPr lvl="0"/>
            <a:r>
              <a:rPr lang="en-US" dirty="0" err="1"/>
              <a:t>Subtitel</a:t>
            </a:r>
            <a:r>
              <a:rPr lang="en-US" dirty="0"/>
              <a:t> [emphasis] </a:t>
            </a:r>
          </a:p>
        </p:txBody>
      </p:sp>
      <p:sp>
        <p:nvSpPr>
          <p:cNvPr id="19" name="SmartArt Placeholder 2"/>
          <p:cNvSpPr>
            <a:spLocks noGrp="1"/>
          </p:cNvSpPr>
          <p:nvPr>
            <p:ph type="dgm" sz="quarter" idx="14" hasCustomPrompt="1"/>
          </p:nvPr>
        </p:nvSpPr>
        <p:spPr>
          <a:xfrm>
            <a:off x="2071132" y="5042979"/>
            <a:ext cx="4097432" cy="205678"/>
          </a:xfrm>
          <a:prstGeom prst="rect">
            <a:avLst/>
          </a:prstGeom>
          <a:solidFill>
            <a:schemeClr val="bg1"/>
          </a:solidFill>
        </p:spPr>
        <p:txBody>
          <a:bodyPr/>
          <a:lstStyle>
            <a:lvl1pPr marL="0" indent="0">
              <a:buNone/>
              <a:defRPr sz="2134" b="1"/>
            </a:lvl1pPr>
          </a:lstStyle>
          <a:p>
            <a:r>
              <a:rPr lang="nl-NL" dirty="0"/>
              <a:t> </a:t>
            </a:r>
            <a:endParaRPr lang="en-GB" dirty="0"/>
          </a:p>
        </p:txBody>
      </p:sp>
      <p:pic>
        <p:nvPicPr>
          <p:cNvPr id="21" name="Picture 20"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71140" y="1179835"/>
            <a:ext cx="5735128" cy="1071902"/>
          </a:xfrm>
          <a:prstGeom prst="rect">
            <a:avLst/>
          </a:prstGeom>
        </p:spPr>
      </p:pic>
    </p:spTree>
    <p:extLst>
      <p:ext uri="{BB962C8B-B14F-4D97-AF65-F5344CB8AC3E}">
        <p14:creationId xmlns:p14="http://schemas.microsoft.com/office/powerpoint/2010/main" val="410222812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Header slide - blue">
    <p:spTree>
      <p:nvGrpSpPr>
        <p:cNvPr id="1" name=""/>
        <p:cNvGrpSpPr/>
        <p:nvPr/>
      </p:nvGrpSpPr>
      <p:grpSpPr>
        <a:xfrm>
          <a:off x="0" y="0"/>
          <a:ext cx="0" cy="0"/>
          <a:chOff x="0" y="0"/>
          <a:chExt cx="0" cy="0"/>
        </a:xfrm>
      </p:grpSpPr>
      <p:sp>
        <p:nvSpPr>
          <p:cNvPr id="3" name="SmartArt Placeholder 2"/>
          <p:cNvSpPr>
            <a:spLocks noGrp="1"/>
          </p:cNvSpPr>
          <p:nvPr>
            <p:ph type="dgm" sz="quarter" idx="12" hasCustomPrompt="1"/>
          </p:nvPr>
        </p:nvSpPr>
        <p:spPr>
          <a:xfrm>
            <a:off x="0" y="3263902"/>
            <a:ext cx="24384000" cy="6968064"/>
          </a:xfrm>
          <a:prstGeom prst="rect">
            <a:avLst/>
          </a:prstGeom>
          <a:solidFill>
            <a:schemeClr val="accent2"/>
          </a:solidFill>
          <a:ln>
            <a:noFill/>
          </a:ln>
        </p:spPr>
        <p:txBody>
          <a:bodyPr/>
          <a:lstStyle>
            <a:lvl1pPr marL="0" indent="0">
              <a:buNone/>
              <a:defRPr sz="4800" baseline="0"/>
            </a:lvl1pPr>
          </a:lstStyle>
          <a:p>
            <a:r>
              <a:rPr lang="nl-NL" dirty="0"/>
              <a:t> </a:t>
            </a:r>
            <a:endParaRPr lang="en-GB" dirty="0"/>
          </a:p>
        </p:txBody>
      </p:sp>
      <p:sp>
        <p:nvSpPr>
          <p:cNvPr id="14" name="Title 13"/>
          <p:cNvSpPr>
            <a:spLocks noGrp="1"/>
          </p:cNvSpPr>
          <p:nvPr>
            <p:ph type="title" hasCustomPrompt="1"/>
          </p:nvPr>
        </p:nvSpPr>
        <p:spPr>
          <a:xfrm>
            <a:off x="1815728" y="5465675"/>
            <a:ext cx="20701840" cy="1398278"/>
          </a:xfrm>
          <a:prstGeom prst="rect">
            <a:avLst/>
          </a:prstGeom>
        </p:spPr>
        <p:txBody>
          <a:bodyPr/>
          <a:lstStyle>
            <a:lvl1pPr>
              <a:defRPr sz="6400" b="0">
                <a:latin typeface="Campton Light" panose="00000400000000000000" pitchFamily="50" charset="0"/>
              </a:defRPr>
            </a:lvl1pPr>
          </a:lstStyle>
          <a:p>
            <a:r>
              <a:rPr lang="en-US" dirty="0"/>
              <a:t>Subsection title</a:t>
            </a:r>
            <a:endParaRPr lang="en-GB" dirty="0"/>
          </a:p>
        </p:txBody>
      </p:sp>
      <p:sp>
        <p:nvSpPr>
          <p:cNvPr id="16" name="Text Placeholder 15"/>
          <p:cNvSpPr>
            <a:spLocks noGrp="1"/>
          </p:cNvSpPr>
          <p:nvPr>
            <p:ph type="body" sz="quarter" idx="11" hasCustomPrompt="1"/>
          </p:nvPr>
        </p:nvSpPr>
        <p:spPr>
          <a:xfrm>
            <a:off x="1815731" y="6595534"/>
            <a:ext cx="20701470" cy="3636432"/>
          </a:xfrm>
          <a:prstGeom prst="rect">
            <a:avLst/>
          </a:prstGeom>
        </p:spPr>
        <p:txBody>
          <a:bodyPr/>
          <a:lstStyle>
            <a:lvl1pPr marL="0" indent="0">
              <a:buNone/>
              <a:defRPr sz="10666" b="1" baseline="0">
                <a:latin typeface="Campton Book" panose="00000800000000000000" pitchFamily="50" charset="0"/>
              </a:defRPr>
            </a:lvl1pPr>
            <a:lvl2pPr>
              <a:defRPr sz="3734">
                <a:latin typeface="Campton Light" panose="00000400000000000000" pitchFamily="50" charset="0"/>
              </a:defRPr>
            </a:lvl2pPr>
            <a:lvl3pPr>
              <a:defRPr sz="3200">
                <a:latin typeface="Campton Light" panose="00000400000000000000" pitchFamily="50" charset="0"/>
              </a:defRPr>
            </a:lvl3pPr>
            <a:lvl4pPr>
              <a:defRPr sz="2934">
                <a:latin typeface="Campton Light" panose="00000400000000000000" pitchFamily="50" charset="0"/>
              </a:defRPr>
            </a:lvl4pPr>
            <a:lvl5pPr>
              <a:defRPr sz="2934">
                <a:latin typeface="Campton Light" panose="00000400000000000000" pitchFamily="50" charset="0"/>
              </a:defRPr>
            </a:lvl5pPr>
          </a:lstStyle>
          <a:p>
            <a:pPr lvl="0"/>
            <a:r>
              <a:rPr lang="en-US" dirty="0" err="1"/>
              <a:t>Subtitel</a:t>
            </a:r>
            <a:r>
              <a:rPr lang="en-US" dirty="0"/>
              <a:t> [emphasis] </a:t>
            </a:r>
          </a:p>
        </p:txBody>
      </p:sp>
      <p:sp>
        <p:nvSpPr>
          <p:cNvPr id="6" name="SmartArt Placeholder 2"/>
          <p:cNvSpPr>
            <a:spLocks noGrp="1"/>
          </p:cNvSpPr>
          <p:nvPr>
            <p:ph type="dgm" sz="quarter" idx="14" hasCustomPrompt="1"/>
          </p:nvPr>
        </p:nvSpPr>
        <p:spPr>
          <a:xfrm>
            <a:off x="2071132" y="5042979"/>
            <a:ext cx="4097432" cy="205678"/>
          </a:xfrm>
          <a:prstGeom prst="rect">
            <a:avLst/>
          </a:prstGeom>
          <a:solidFill>
            <a:schemeClr val="tx1"/>
          </a:solidFill>
        </p:spPr>
        <p:txBody>
          <a:bodyPr/>
          <a:lstStyle>
            <a:lvl1pPr marL="0" indent="0">
              <a:buNone/>
              <a:defRPr sz="2134" b="1"/>
            </a:lvl1pPr>
          </a:lstStyle>
          <a:p>
            <a:r>
              <a:rPr lang="nl-NL" dirty="0"/>
              <a:t> </a:t>
            </a:r>
            <a:endParaRPr lang="en-GB" dirty="0"/>
          </a:p>
        </p:txBody>
      </p:sp>
      <p:pic>
        <p:nvPicPr>
          <p:cNvPr id="8" name="Picture 7"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71140" y="1179835"/>
            <a:ext cx="5735128" cy="1071902"/>
          </a:xfrm>
          <a:prstGeom prst="rect">
            <a:avLst/>
          </a:prstGeom>
        </p:spPr>
      </p:pic>
    </p:spTree>
    <p:extLst>
      <p:ext uri="{BB962C8B-B14F-4D97-AF65-F5344CB8AC3E}">
        <p14:creationId xmlns:p14="http://schemas.microsoft.com/office/powerpoint/2010/main" val="5289397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 Cyaan met afbeelding">
    <p:bg>
      <p:bgPr>
        <a:solidFill>
          <a:schemeClr val="accent2"/>
        </a:solidFill>
        <a:effectLst/>
      </p:bgPr>
    </p:bg>
    <p:spTree>
      <p:nvGrpSpPr>
        <p:cNvPr id="1" name=""/>
        <p:cNvGrpSpPr/>
        <p:nvPr/>
      </p:nvGrpSpPr>
      <p:grpSpPr>
        <a:xfrm>
          <a:off x="0" y="0"/>
          <a:ext cx="0" cy="0"/>
          <a:chOff x="0" y="0"/>
          <a:chExt cx="0" cy="0"/>
        </a:xfrm>
      </p:grpSpPr>
      <p:sp>
        <p:nvSpPr>
          <p:cNvPr id="11" name="Auteur en datum"/>
          <p:cNvSpPr txBox="1">
            <a:spLocks noGrp="1"/>
          </p:cNvSpPr>
          <p:nvPr>
            <p:ph type="body" sz="quarter" idx="21" hasCustomPrompt="1"/>
          </p:nvPr>
        </p:nvSpPr>
        <p:spPr>
          <a:xfrm>
            <a:off x="2459736" y="10633820"/>
            <a:ext cx="10506457" cy="713231"/>
          </a:xfrm>
          <a:prstGeom prst="rect">
            <a:avLst/>
          </a:prstGeom>
        </p:spPr>
        <p:txBody>
          <a:bodyPr lIns="216000" tIns="45719" rIns="45719" bIns="45719" anchor="b">
            <a:noAutofit/>
          </a:bodyPr>
          <a:lstStyle>
            <a:lvl1pPr marL="0" indent="0" defTabSz="825500">
              <a:lnSpc>
                <a:spcPct val="100000"/>
              </a:lnSpc>
              <a:spcBef>
                <a:spcPts val="0"/>
              </a:spcBef>
              <a:buSzTx/>
              <a:buNone/>
              <a:defRPr sz="4000" b="0">
                <a:latin typeface="+mn-lt"/>
              </a:defRPr>
            </a:lvl1pPr>
          </a:lstStyle>
          <a:p>
            <a:r>
              <a:rPr lang="nl-NL"/>
              <a:t>Auteurs</a:t>
            </a:r>
            <a:endParaRPr/>
          </a:p>
        </p:txBody>
      </p:sp>
      <p:sp>
        <p:nvSpPr>
          <p:cNvPr id="12" name="Naam presentatie"/>
          <p:cNvSpPr txBox="1">
            <a:spLocks noGrp="1"/>
          </p:cNvSpPr>
          <p:nvPr>
            <p:ph type="title" hasCustomPrompt="1"/>
          </p:nvPr>
        </p:nvSpPr>
        <p:spPr>
          <a:xfrm>
            <a:off x="2505457" y="6629400"/>
            <a:ext cx="10460736" cy="3611150"/>
          </a:xfrm>
          <a:prstGeom prst="rect">
            <a:avLst/>
          </a:prstGeom>
        </p:spPr>
        <p:txBody>
          <a:bodyPr lIns="144000" anchor="t">
            <a:noAutofit/>
          </a:bodyPr>
          <a:lstStyle>
            <a:lvl1pPr>
              <a:defRPr sz="12000" b="0" spc="0" baseline="0">
                <a:latin typeface="+mj-lt"/>
              </a:defRPr>
            </a:lvl1pPr>
          </a:lstStyle>
          <a:p>
            <a:r>
              <a:rPr lang="nl-NL"/>
              <a:t>Titel</a:t>
            </a:r>
            <a:endParaRPr/>
          </a:p>
        </p:txBody>
      </p:sp>
      <p:sp>
        <p:nvSpPr>
          <p:cNvPr id="13" name="Hoofdtekst - niveau één…"/>
          <p:cNvSpPr txBox="1">
            <a:spLocks noGrp="1"/>
          </p:cNvSpPr>
          <p:nvPr>
            <p:ph type="body" sz="quarter" idx="1" hasCustomPrompt="1"/>
          </p:nvPr>
        </p:nvSpPr>
        <p:spPr>
          <a:xfrm>
            <a:off x="2496313" y="2569464"/>
            <a:ext cx="10469879" cy="4059936"/>
          </a:xfrm>
          <a:prstGeom prst="rect">
            <a:avLst/>
          </a:prstGeom>
        </p:spPr>
        <p:txBody>
          <a:bodyPr lIns="108000" bIns="0" anchor="b">
            <a:noAutofit/>
          </a:bodyPr>
          <a:lstStyle>
            <a:lvl1pPr marL="0" indent="0" defTabSz="825500">
              <a:lnSpc>
                <a:spcPct val="100000"/>
              </a:lnSpc>
              <a:spcBef>
                <a:spcPts val="0"/>
              </a:spcBef>
              <a:buSzTx/>
              <a:buNone/>
              <a:defRPr sz="12200" b="0" spc="110" baseline="0"/>
            </a:lvl1pPr>
            <a:lvl2pPr marL="0" indent="0" defTabSz="825500">
              <a:lnSpc>
                <a:spcPct val="100000"/>
              </a:lnSpc>
              <a:spcBef>
                <a:spcPts val="0"/>
              </a:spcBef>
              <a:buSzTx/>
              <a:buNone/>
              <a:defRPr sz="5500" b="1"/>
            </a:lvl2pPr>
            <a:lvl3pPr marL="0" indent="0" defTabSz="825500">
              <a:lnSpc>
                <a:spcPct val="100000"/>
              </a:lnSpc>
              <a:spcBef>
                <a:spcPts val="0"/>
              </a:spcBef>
              <a:buSzTx/>
              <a:buNone/>
              <a:defRPr sz="5500" b="1"/>
            </a:lvl3pPr>
            <a:lvl4pPr marL="0" indent="0" defTabSz="825500">
              <a:lnSpc>
                <a:spcPct val="100000"/>
              </a:lnSpc>
              <a:spcBef>
                <a:spcPts val="0"/>
              </a:spcBef>
              <a:buSzTx/>
              <a:buNone/>
              <a:defRPr sz="5500" b="1"/>
            </a:lvl4pPr>
            <a:lvl5pPr marL="0" indent="0" defTabSz="825500">
              <a:lnSpc>
                <a:spcPct val="100000"/>
              </a:lnSpc>
              <a:spcBef>
                <a:spcPts val="0"/>
              </a:spcBef>
              <a:buSzTx/>
              <a:buNone/>
              <a:defRPr sz="5500" b="1"/>
            </a:lvl5pPr>
          </a:lstStyle>
          <a:p>
            <a:r>
              <a:rPr lang="nl-NL"/>
              <a:t>Subtitel</a:t>
            </a:r>
          </a:p>
        </p:txBody>
      </p:sp>
      <p:sp>
        <p:nvSpPr>
          <p:cNvPr id="9" name="Tijdelijke aanduiding voor datum 4">
            <a:extLst>
              <a:ext uri="{FF2B5EF4-FFF2-40B4-BE49-F238E27FC236}">
                <a16:creationId xmlns:a16="http://schemas.microsoft.com/office/drawing/2014/main" id="{1AB02A12-0190-465E-B00A-B91F85BC46FC}"/>
              </a:ext>
            </a:extLst>
          </p:cNvPr>
          <p:cNvSpPr>
            <a:spLocks noGrp="1"/>
          </p:cNvSpPr>
          <p:nvPr>
            <p:ph type="dt" sz="half" idx="22"/>
          </p:nvPr>
        </p:nvSpPr>
        <p:spPr>
          <a:xfrm>
            <a:off x="2459736" y="11367879"/>
            <a:ext cx="10506457" cy="730250"/>
          </a:xfrm>
          <a:prstGeom prst="rect">
            <a:avLst/>
          </a:prstGeom>
        </p:spPr>
        <p:txBody>
          <a:bodyPr vert="horz" lIns="180000" tIns="45720" rIns="91440" bIns="45720" rtlCol="0" anchor="ctr"/>
          <a:lstStyle>
            <a:lvl1pPr algn="l">
              <a:defRPr sz="3200">
                <a:solidFill>
                  <a:schemeClr val="tx1"/>
                </a:solidFill>
              </a:defRPr>
            </a:lvl1pPr>
          </a:lstStyle>
          <a:p>
            <a:fld id="{B150532B-FCF9-426A-ADF2-F182BD70000C}" type="datetime4">
              <a:rPr lang="nl-NL" smtClean="0"/>
              <a:t>13 juni 2023</a:t>
            </a:fld>
            <a:endParaRPr lang="nl-NL"/>
          </a:p>
        </p:txBody>
      </p:sp>
      <p:sp>
        <p:nvSpPr>
          <p:cNvPr id="10" name="Dianummer">
            <a:extLst>
              <a:ext uri="{FF2B5EF4-FFF2-40B4-BE49-F238E27FC236}">
                <a16:creationId xmlns:a16="http://schemas.microsoft.com/office/drawing/2014/main" id="{869DACE5-1BFD-404D-92ED-AAFC9B1C2565}"/>
              </a:ext>
            </a:extLst>
          </p:cNvPr>
          <p:cNvSpPr txBox="1">
            <a:spLocks noGrp="1"/>
          </p:cNvSpPr>
          <p:nvPr>
            <p:ph type="sldNum" sz="quarter" idx="2"/>
          </p:nvPr>
        </p:nvSpPr>
        <p:spPr>
          <a:xfrm>
            <a:off x="23177500" y="13749162"/>
            <a:ext cx="811276" cy="441146"/>
          </a:xfrm>
          <a:prstGeom prst="rect">
            <a:avLst/>
          </a:prstGeom>
          <a:ln w="12700">
            <a:miter lim="400000"/>
          </a:ln>
        </p:spPr>
        <p:txBody>
          <a:bodyPr wrap="square" lIns="50800" tIns="50800" rIns="50800" bIns="50800" anchor="b">
            <a:spAutoFit/>
          </a:bodyPr>
          <a:lstStyle>
            <a:lvl1pPr algn="r" defTabSz="584200">
              <a:lnSpc>
                <a:spcPct val="100000"/>
              </a:lnSpc>
              <a:spcBef>
                <a:spcPts val="0"/>
              </a:spcBef>
              <a:defRPr sz="2200">
                <a:solidFill>
                  <a:schemeClr val="tx1"/>
                </a:solidFill>
                <a:latin typeface="+mn-lt"/>
                <a:ea typeface="Source Sans Pro" panose="020B0503030403020204" pitchFamily="34" charset="0"/>
              </a:defRPr>
            </a:lvl1pPr>
          </a:lstStyle>
          <a:p>
            <a:fld id="{86CB4B4D-7CA3-9044-876B-883B54F8677D}" type="slidenum">
              <a:rPr lang="nl-NL" smtClean="0"/>
              <a:pPr/>
              <a:t>‹nr.›</a:t>
            </a:fld>
            <a:endParaRPr lang="nl-NL"/>
          </a:p>
        </p:txBody>
      </p:sp>
      <p:sp>
        <p:nvSpPr>
          <p:cNvPr id="5" name="Tijdelijke aanduiding voor afbeelding 4">
            <a:extLst>
              <a:ext uri="{FF2B5EF4-FFF2-40B4-BE49-F238E27FC236}">
                <a16:creationId xmlns:a16="http://schemas.microsoft.com/office/drawing/2014/main" id="{3CA36E5E-48C5-43E7-AF37-D5B5524CA835}"/>
              </a:ext>
            </a:extLst>
          </p:cNvPr>
          <p:cNvSpPr>
            <a:spLocks noGrp="1"/>
          </p:cNvSpPr>
          <p:nvPr>
            <p:ph type="pic" sz="quarter" idx="23" hasCustomPrompt="1"/>
          </p:nvPr>
        </p:nvSpPr>
        <p:spPr>
          <a:xfrm>
            <a:off x="13295376" y="1961122"/>
            <a:ext cx="10076688" cy="10063238"/>
          </a:xfrm>
          <a:prstGeom prst="round2DiagRect">
            <a:avLst>
              <a:gd name="adj1" fmla="val 44290"/>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pic>
        <p:nvPicPr>
          <p:cNvPr id="14" name="Graphic 13">
            <a:extLst>
              <a:ext uri="{FF2B5EF4-FFF2-40B4-BE49-F238E27FC236}">
                <a16:creationId xmlns:a16="http://schemas.microsoft.com/office/drawing/2014/main" id="{FFEDFB67-4AC3-44A4-9051-8CC540E0621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7010" y="413369"/>
            <a:ext cx="2165251" cy="2165251"/>
          </a:xfrm>
          <a:prstGeom prst="rect">
            <a:avLst/>
          </a:prstGeom>
        </p:spPr>
      </p:pic>
    </p:spTree>
    <p:extLst>
      <p:ext uri="{BB962C8B-B14F-4D97-AF65-F5344CB8AC3E}">
        <p14:creationId xmlns:p14="http://schemas.microsoft.com/office/powerpoint/2010/main" val="1361626781"/>
      </p:ext>
    </p:extLst>
  </p:cSld>
  <p:clrMapOvr>
    <a:masterClrMapping/>
  </p:clrMapOvr>
  <p:transition spd="med"/>
  <p:hf sldNum="0" hdr="0" ftr="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Header slide - ok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815731" y="5130238"/>
            <a:ext cx="20701470" cy="2051352"/>
          </a:xfrm>
          <a:prstGeom prst="rect">
            <a:avLst/>
          </a:prstGeom>
        </p:spPr>
        <p:txBody>
          <a:bodyPr/>
          <a:lstStyle>
            <a:lvl1pPr marL="0" indent="0">
              <a:buNone/>
              <a:defRPr sz="10666" b="1" baseline="0">
                <a:latin typeface="Campton Book" panose="00000800000000000000" pitchFamily="50" charset="0"/>
              </a:defRPr>
            </a:lvl1pPr>
            <a:lvl2pPr>
              <a:defRPr sz="3734">
                <a:latin typeface="Campton Light" panose="00000400000000000000" pitchFamily="50" charset="0"/>
              </a:defRPr>
            </a:lvl2pPr>
            <a:lvl3pPr>
              <a:defRPr sz="3200">
                <a:latin typeface="Campton Light" panose="00000400000000000000" pitchFamily="50" charset="0"/>
              </a:defRPr>
            </a:lvl3pPr>
            <a:lvl4pPr>
              <a:defRPr sz="2934">
                <a:latin typeface="Campton Light" panose="00000400000000000000" pitchFamily="50" charset="0"/>
              </a:defRPr>
            </a:lvl4pPr>
            <a:lvl5pPr>
              <a:defRPr sz="2934">
                <a:latin typeface="Campton Light" panose="00000400000000000000" pitchFamily="50" charset="0"/>
              </a:defRPr>
            </a:lvl5pPr>
          </a:lstStyle>
          <a:p>
            <a:pPr lvl="0"/>
            <a:r>
              <a:rPr lang="en-US" dirty="0"/>
              <a:t>Section title</a:t>
            </a:r>
          </a:p>
        </p:txBody>
      </p:sp>
      <p:sp>
        <p:nvSpPr>
          <p:cNvPr id="19" name="SmartArt Placeholder 2"/>
          <p:cNvSpPr>
            <a:spLocks noGrp="1"/>
          </p:cNvSpPr>
          <p:nvPr>
            <p:ph type="dgm" sz="quarter" idx="14" hasCustomPrompt="1"/>
          </p:nvPr>
        </p:nvSpPr>
        <p:spPr>
          <a:xfrm>
            <a:off x="2071132" y="5042979"/>
            <a:ext cx="4097432" cy="205678"/>
          </a:xfrm>
          <a:prstGeom prst="rect">
            <a:avLst/>
          </a:prstGeom>
          <a:solidFill>
            <a:schemeClr val="tx1"/>
          </a:solidFill>
        </p:spPr>
        <p:txBody>
          <a:bodyPr/>
          <a:lstStyle>
            <a:lvl1pPr marL="0" indent="0">
              <a:buNone/>
              <a:defRPr sz="2134" b="1"/>
            </a:lvl1pPr>
          </a:lstStyle>
          <a:p>
            <a:r>
              <a:rPr lang="nl-NL" dirty="0"/>
              <a:t> </a:t>
            </a:r>
            <a:endParaRPr lang="en-GB" dirty="0"/>
          </a:p>
        </p:txBody>
      </p:sp>
      <p:pic>
        <p:nvPicPr>
          <p:cNvPr id="21" name="Picture 20"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71140" y="1179835"/>
            <a:ext cx="5735128" cy="1071902"/>
          </a:xfrm>
          <a:prstGeom prst="rect">
            <a:avLst/>
          </a:prstGeom>
        </p:spPr>
      </p:pic>
      <p:sp>
        <p:nvSpPr>
          <p:cNvPr id="4" name="Picture Placeholder 3"/>
          <p:cNvSpPr>
            <a:spLocks noGrp="1"/>
          </p:cNvSpPr>
          <p:nvPr>
            <p:ph type="pic" sz="quarter" idx="15" hasCustomPrompt="1"/>
          </p:nvPr>
        </p:nvSpPr>
        <p:spPr>
          <a:xfrm>
            <a:off x="2" y="7216794"/>
            <a:ext cx="24384000" cy="6499208"/>
          </a:xfrm>
          <a:prstGeom prst="rect">
            <a:avLst/>
          </a:prstGeom>
          <a:noFill/>
        </p:spPr>
        <p:txBody>
          <a:bodyPr/>
          <a:lstStyle>
            <a:lvl1pPr marL="0" indent="0">
              <a:buNone/>
              <a:defRPr/>
            </a:lvl1pPr>
          </a:lstStyle>
          <a:p>
            <a:r>
              <a:rPr lang="nl-NL" dirty="0"/>
              <a:t>  </a:t>
            </a:r>
            <a:endParaRPr lang="en-GB" dirty="0"/>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293845" y="10691725"/>
            <a:ext cx="5858930" cy="3515986"/>
          </a:xfrm>
          <a:prstGeom prst="rect">
            <a:avLst/>
          </a:prstGeom>
        </p:spPr>
      </p:pic>
    </p:spTree>
    <p:extLst>
      <p:ext uri="{BB962C8B-B14F-4D97-AF65-F5344CB8AC3E}">
        <p14:creationId xmlns:p14="http://schemas.microsoft.com/office/powerpoint/2010/main" val="39525816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Header + Backgrnd Image">
    <p:spTree>
      <p:nvGrpSpPr>
        <p:cNvPr id="1" name=""/>
        <p:cNvGrpSpPr/>
        <p:nvPr/>
      </p:nvGrpSpPr>
      <p:grpSpPr>
        <a:xfrm>
          <a:off x="0" y="0"/>
          <a:ext cx="0" cy="0"/>
          <a:chOff x="0" y="0"/>
          <a:chExt cx="0" cy="0"/>
        </a:xfrm>
      </p:grpSpPr>
      <p:sp>
        <p:nvSpPr>
          <p:cNvPr id="7" name="Picture Placeholder 6"/>
          <p:cNvSpPr>
            <a:spLocks noGrp="1"/>
          </p:cNvSpPr>
          <p:nvPr>
            <p:ph type="pic" sz="quarter" idx="10" hasCustomPrompt="1"/>
          </p:nvPr>
        </p:nvSpPr>
        <p:spPr>
          <a:xfrm>
            <a:off x="0" y="0"/>
            <a:ext cx="24384000" cy="13716000"/>
          </a:xfrm>
          <a:prstGeom prst="rect">
            <a:avLst/>
          </a:prstGeom>
          <a:blipFill dpi="0" rotWithShape="0">
            <a:blip r:embed="rId2">
              <a:extLst>
                <a:ext uri="{28A0092B-C50C-407E-A947-70E740481C1C}">
                  <a14:useLocalDpi xmlns:a14="http://schemas.microsoft.com/office/drawing/2010/main" val="0"/>
                </a:ext>
              </a:extLst>
            </a:blip>
            <a:srcRect/>
            <a:stretch>
              <a:fillRect/>
            </a:stretch>
          </a:blipFill>
        </p:spPr>
        <p:txBody>
          <a:bodyPr/>
          <a:lstStyle>
            <a:lvl1pPr marL="0" indent="0">
              <a:buNone/>
              <a:defRPr sz="4800" baseline="0">
                <a:solidFill>
                  <a:schemeClr val="bg1"/>
                </a:solidFill>
              </a:defRPr>
            </a:lvl1pPr>
          </a:lstStyle>
          <a:p>
            <a:r>
              <a:rPr lang="nl-NL" dirty="0"/>
              <a:t> </a:t>
            </a:r>
            <a:endParaRPr lang="en-GB" dirty="0"/>
          </a:p>
        </p:txBody>
      </p:sp>
      <p:sp>
        <p:nvSpPr>
          <p:cNvPr id="5" name="Rectangle 4"/>
          <p:cNvSpPr/>
          <p:nvPr userDrawn="1"/>
        </p:nvSpPr>
        <p:spPr>
          <a:xfrm>
            <a:off x="2071138" y="5030917"/>
            <a:ext cx="4097432" cy="229810"/>
          </a:xfrm>
          <a:prstGeom prst="rect">
            <a:avLst/>
          </a:prstGeom>
          <a:solidFill>
            <a:schemeClr val="bg1"/>
          </a:solidFill>
          <a:ln>
            <a:noFill/>
          </a:ln>
          <a:effectLst/>
        </p:spPr>
        <p:style>
          <a:lnRef idx="1">
            <a:schemeClr val="dk1"/>
          </a:lnRef>
          <a:fillRef idx="3">
            <a:schemeClr val="dk1"/>
          </a:fillRef>
          <a:effectRef idx="2">
            <a:schemeClr val="dk1"/>
          </a:effectRef>
          <a:fontRef idx="minor">
            <a:schemeClr val="lt1"/>
          </a:fontRef>
        </p:style>
        <p:txBody>
          <a:bodyPr/>
          <a:lstStyle/>
          <a:p>
            <a:endParaRPr lang="en-US" sz="4800"/>
          </a:p>
        </p:txBody>
      </p:sp>
      <p:sp>
        <p:nvSpPr>
          <p:cNvPr id="10" name="SmartArt Placeholder 2"/>
          <p:cNvSpPr>
            <a:spLocks noGrp="1"/>
          </p:cNvSpPr>
          <p:nvPr>
            <p:ph type="dgm" sz="quarter" idx="14" hasCustomPrompt="1"/>
          </p:nvPr>
        </p:nvSpPr>
        <p:spPr>
          <a:xfrm>
            <a:off x="2071132" y="5042979"/>
            <a:ext cx="4097432" cy="205678"/>
          </a:xfrm>
          <a:prstGeom prst="rect">
            <a:avLst/>
          </a:prstGeom>
          <a:solidFill>
            <a:schemeClr val="bg1"/>
          </a:solidFill>
        </p:spPr>
        <p:txBody>
          <a:bodyPr/>
          <a:lstStyle>
            <a:lvl1pPr marL="0" indent="0">
              <a:buNone/>
              <a:defRPr sz="2134" b="1"/>
            </a:lvl1pPr>
          </a:lstStyle>
          <a:p>
            <a:r>
              <a:rPr lang="nl-NL" dirty="0"/>
              <a:t> </a:t>
            </a:r>
            <a:endParaRPr lang="en-GB" dirty="0"/>
          </a:p>
        </p:txBody>
      </p:sp>
      <p:sp>
        <p:nvSpPr>
          <p:cNvPr id="11" name="Title 13"/>
          <p:cNvSpPr>
            <a:spLocks noGrp="1"/>
          </p:cNvSpPr>
          <p:nvPr>
            <p:ph type="title" hasCustomPrompt="1"/>
          </p:nvPr>
        </p:nvSpPr>
        <p:spPr>
          <a:xfrm>
            <a:off x="1815728" y="5465675"/>
            <a:ext cx="20701840" cy="1398278"/>
          </a:xfrm>
          <a:prstGeom prst="rect">
            <a:avLst/>
          </a:prstGeom>
        </p:spPr>
        <p:txBody>
          <a:bodyPr/>
          <a:lstStyle>
            <a:lvl1pPr>
              <a:defRPr sz="6400" b="0">
                <a:solidFill>
                  <a:schemeClr val="bg1"/>
                </a:solidFill>
                <a:latin typeface="Campton Light" panose="00000400000000000000" pitchFamily="50" charset="0"/>
              </a:defRPr>
            </a:lvl1pPr>
          </a:lstStyle>
          <a:p>
            <a:r>
              <a:rPr lang="en-US" dirty="0"/>
              <a:t>Subsection title</a:t>
            </a:r>
            <a:endParaRPr lang="en-GB" dirty="0"/>
          </a:p>
        </p:txBody>
      </p:sp>
      <p:sp>
        <p:nvSpPr>
          <p:cNvPr id="12" name="Text Placeholder 15"/>
          <p:cNvSpPr>
            <a:spLocks noGrp="1"/>
          </p:cNvSpPr>
          <p:nvPr>
            <p:ph type="body" sz="quarter" idx="11" hasCustomPrompt="1"/>
          </p:nvPr>
        </p:nvSpPr>
        <p:spPr>
          <a:xfrm>
            <a:off x="1815731" y="6595534"/>
            <a:ext cx="20701470" cy="3636432"/>
          </a:xfrm>
          <a:prstGeom prst="rect">
            <a:avLst/>
          </a:prstGeom>
        </p:spPr>
        <p:txBody>
          <a:bodyPr/>
          <a:lstStyle>
            <a:lvl1pPr marL="0" indent="0">
              <a:buNone/>
              <a:defRPr sz="10666" b="1" baseline="0">
                <a:solidFill>
                  <a:schemeClr val="bg1"/>
                </a:solidFill>
                <a:latin typeface="Campton Book" panose="00000800000000000000" pitchFamily="50" charset="0"/>
              </a:defRPr>
            </a:lvl1pPr>
            <a:lvl2pPr>
              <a:defRPr sz="3734">
                <a:latin typeface="Campton Light" panose="00000400000000000000" pitchFamily="50" charset="0"/>
              </a:defRPr>
            </a:lvl2pPr>
            <a:lvl3pPr>
              <a:defRPr sz="3200">
                <a:latin typeface="Campton Light" panose="00000400000000000000" pitchFamily="50" charset="0"/>
              </a:defRPr>
            </a:lvl3pPr>
            <a:lvl4pPr>
              <a:defRPr sz="2934">
                <a:latin typeface="Campton Light" panose="00000400000000000000" pitchFamily="50" charset="0"/>
              </a:defRPr>
            </a:lvl4pPr>
            <a:lvl5pPr>
              <a:defRPr sz="2934">
                <a:latin typeface="Campton Light" panose="00000400000000000000" pitchFamily="50" charset="0"/>
              </a:defRPr>
            </a:lvl5pPr>
          </a:lstStyle>
          <a:p>
            <a:pPr lvl="0"/>
            <a:r>
              <a:rPr lang="en-US" dirty="0" err="1"/>
              <a:t>Subtitel</a:t>
            </a:r>
            <a:r>
              <a:rPr lang="en-US" dirty="0"/>
              <a:t> [emphasis] </a:t>
            </a:r>
          </a:p>
        </p:txBody>
      </p:sp>
      <p:pic>
        <p:nvPicPr>
          <p:cNvPr id="22" name="Picture 21" descr="drift-logo-horizontaal-wit.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71137" y="1179831"/>
            <a:ext cx="5735130" cy="1071902"/>
          </a:xfrm>
          <a:prstGeom prst="rect">
            <a:avLst/>
          </a:prstGeom>
        </p:spPr>
      </p:pic>
      <p:sp>
        <p:nvSpPr>
          <p:cNvPr id="24" name="Picture Placeholder 23"/>
          <p:cNvSpPr>
            <a:spLocks noGrp="1"/>
          </p:cNvSpPr>
          <p:nvPr>
            <p:ph type="pic" sz="quarter" idx="15" hasCustomPrompt="1"/>
          </p:nvPr>
        </p:nvSpPr>
        <p:spPr>
          <a:xfrm>
            <a:off x="2070103" y="1181102"/>
            <a:ext cx="5736166" cy="1071032"/>
          </a:xfrm>
          <a:prstGeom prst="rect">
            <a:avLst/>
          </a:prstGeom>
          <a:blipFill>
            <a:blip r:embed="rId4">
              <a:extLst>
                <a:ext uri="{28A0092B-C50C-407E-A947-70E740481C1C}">
                  <a14:useLocalDpi xmlns:a14="http://schemas.microsoft.com/office/drawing/2010/main" val="0"/>
                </a:ext>
              </a:extLst>
            </a:blip>
            <a:stretch>
              <a:fillRect/>
            </a:stretch>
          </a:blipFill>
        </p:spPr>
        <p:txBody>
          <a:bodyPr/>
          <a:lstStyle>
            <a:lvl1pPr marL="0" indent="0">
              <a:buNone/>
              <a:defRPr baseline="0"/>
            </a:lvl1pPr>
          </a:lstStyle>
          <a:p>
            <a:r>
              <a:rPr lang="nl-NL" dirty="0"/>
              <a:t> </a:t>
            </a:r>
            <a:endParaRPr lang="en-GB" dirty="0"/>
          </a:p>
        </p:txBody>
      </p:sp>
    </p:spTree>
    <p:extLst>
      <p:ext uri="{BB962C8B-B14F-4D97-AF65-F5344CB8AC3E}">
        <p14:creationId xmlns:p14="http://schemas.microsoft.com/office/powerpoint/2010/main" val="24672797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 Quote">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18009690" y="2977005"/>
            <a:ext cx="4068232" cy="5122334"/>
          </a:xfrm>
          <a:prstGeom prst="rect">
            <a:avLst/>
          </a:prstGeom>
        </p:spPr>
        <p:txBody>
          <a:bodyPr/>
          <a:lstStyle>
            <a:lvl1pPr marL="0" indent="0">
              <a:lnSpc>
                <a:spcPct val="100000"/>
              </a:lnSpc>
              <a:buNone/>
              <a:defRPr sz="3734" baseline="0">
                <a:latin typeface="Campton Light" panose="00000400000000000000" pitchFamily="50" charset="0"/>
              </a:defRPr>
            </a:lvl1pPr>
          </a:lstStyle>
          <a:p>
            <a:pPr lvl="0"/>
            <a:r>
              <a:rPr lang="en-US" dirty="0"/>
              <a:t>Click to add quote / text</a:t>
            </a:r>
            <a:endParaRPr lang="en-GB" dirty="0"/>
          </a:p>
        </p:txBody>
      </p:sp>
      <p:sp>
        <p:nvSpPr>
          <p:cNvPr id="14" name="Title 13"/>
          <p:cNvSpPr>
            <a:spLocks noGrp="1"/>
          </p:cNvSpPr>
          <p:nvPr>
            <p:ph type="title"/>
          </p:nvPr>
        </p:nvSpPr>
        <p:spPr>
          <a:xfrm>
            <a:off x="1815731" y="2751911"/>
            <a:ext cx="15949758" cy="1398278"/>
          </a:xfrm>
          <a:prstGeom prst="rect">
            <a:avLst/>
          </a:prstGeom>
        </p:spPr>
        <p:txBody>
          <a:bodyPr/>
          <a:lstStyle>
            <a:lvl1pPr>
              <a:defRPr lang="en-GB" sz="5334" b="1" dirty="0">
                <a:latin typeface="Campton Book" panose="00000800000000000000" pitchFamily="50" charset="0"/>
              </a:defRPr>
            </a:lvl1pPr>
          </a:lstStyle>
          <a:p>
            <a:r>
              <a:rPr lang="en-US" dirty="0"/>
              <a:t>Click to edit Master title style</a:t>
            </a:r>
            <a:endParaRPr lang="en-GB" dirty="0"/>
          </a:p>
        </p:txBody>
      </p:sp>
      <p:sp>
        <p:nvSpPr>
          <p:cNvPr id="16" name="Text Placeholder 15"/>
          <p:cNvSpPr>
            <a:spLocks noGrp="1"/>
          </p:cNvSpPr>
          <p:nvPr>
            <p:ph type="body" sz="quarter" idx="11"/>
          </p:nvPr>
        </p:nvSpPr>
        <p:spPr>
          <a:xfrm>
            <a:off x="1816102" y="4491571"/>
            <a:ext cx="15951200" cy="8588706"/>
          </a:xfrm>
          <a:prstGeom prst="rect">
            <a:avLst/>
          </a:prstGeom>
        </p:spPr>
        <p:txBody>
          <a:bodyPr/>
          <a:lstStyle>
            <a:lvl1pPr marL="0" indent="0">
              <a:buNone/>
              <a:defRPr lang="en-US" sz="4266" dirty="0" smtClean="0">
                <a:latin typeface="Campton Light" panose="00000400000000000000" pitchFamily="50" charset="0"/>
              </a:defRPr>
            </a:lvl1pPr>
            <a:lvl2pPr>
              <a:defRPr lang="en-US" sz="3734" dirty="0" smtClean="0">
                <a:latin typeface="Campton Light" panose="00000400000000000000" pitchFamily="50" charset="0"/>
              </a:defRPr>
            </a:lvl2pPr>
            <a:lvl3pPr>
              <a:defRPr lang="en-US" sz="3734" dirty="0" smtClean="0">
                <a:latin typeface="Campton Light" panose="00000400000000000000" pitchFamily="50" charset="0"/>
              </a:defRPr>
            </a:lvl3pPr>
            <a:lvl4pPr>
              <a:defRPr sz="2934">
                <a:latin typeface="Campton Light" panose="00000400000000000000" pitchFamily="50" charset="0"/>
              </a:defRPr>
            </a:lvl4pPr>
            <a:lvl5pPr>
              <a:defRPr sz="2934">
                <a:latin typeface="Campton Light" panose="00000400000000000000" pitchFamily="50" charset="0"/>
              </a:defRPr>
            </a:lvl5pPr>
          </a:lstStyle>
          <a:p>
            <a:pPr lvl="0"/>
            <a:r>
              <a:rPr lang="en-US" dirty="0"/>
              <a:t>Click to edit Master text styles</a:t>
            </a:r>
          </a:p>
          <a:p>
            <a:pPr lvl="1"/>
            <a:r>
              <a:rPr lang="en-US" dirty="0"/>
              <a:t>Second level</a:t>
            </a:r>
          </a:p>
          <a:p>
            <a:pPr lvl="2"/>
            <a:r>
              <a:rPr lang="en-US" dirty="0"/>
              <a:t>Third level</a:t>
            </a:r>
          </a:p>
        </p:txBody>
      </p:sp>
      <p:pic>
        <p:nvPicPr>
          <p:cNvPr id="17" name="Picture 16"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0608" y="601134"/>
            <a:ext cx="3531280" cy="660000"/>
          </a:xfrm>
          <a:prstGeom prst="rect">
            <a:avLst/>
          </a:prstGeom>
        </p:spPr>
      </p:pic>
      <p:sp>
        <p:nvSpPr>
          <p:cNvPr id="8" name="SmartArt Placeholder 2"/>
          <p:cNvSpPr>
            <a:spLocks noGrp="1"/>
          </p:cNvSpPr>
          <p:nvPr>
            <p:ph type="dgm" sz="quarter" idx="12" hasCustomPrompt="1"/>
          </p:nvPr>
        </p:nvSpPr>
        <p:spPr>
          <a:xfrm>
            <a:off x="2071136" y="2359725"/>
            <a:ext cx="2650752" cy="205678"/>
          </a:xfrm>
          <a:prstGeom prst="rect">
            <a:avLst/>
          </a:prstGeom>
          <a:solidFill>
            <a:schemeClr val="tx1"/>
          </a:solidFill>
        </p:spPr>
        <p:txBody>
          <a:bodyPr/>
          <a:lstStyle>
            <a:lvl1pPr marL="0" indent="0">
              <a:buNone/>
              <a:defRPr sz="2134" b="1"/>
            </a:lvl1pPr>
          </a:lstStyle>
          <a:p>
            <a:r>
              <a:rPr lang="nl-NL" dirty="0"/>
              <a:t> </a:t>
            </a:r>
          </a:p>
          <a:p>
            <a:endParaRPr lang="en-GB" dirty="0"/>
          </a:p>
        </p:txBody>
      </p:sp>
      <p:sp>
        <p:nvSpPr>
          <p:cNvPr id="12" name="SmartArt Placeholder 2"/>
          <p:cNvSpPr>
            <a:spLocks noGrp="1"/>
          </p:cNvSpPr>
          <p:nvPr>
            <p:ph type="dgm" sz="quarter" idx="14" hasCustomPrompt="1"/>
          </p:nvPr>
        </p:nvSpPr>
        <p:spPr>
          <a:xfrm>
            <a:off x="18240670" y="2359723"/>
            <a:ext cx="2650752" cy="205678"/>
          </a:xfrm>
          <a:prstGeom prst="rect">
            <a:avLst/>
          </a:prstGeom>
          <a:solidFill>
            <a:schemeClr val="tx1"/>
          </a:solidFill>
        </p:spPr>
        <p:txBody>
          <a:bodyPr/>
          <a:lstStyle>
            <a:lvl1pPr marL="0" indent="0">
              <a:buNone/>
              <a:defRPr sz="2134" b="1"/>
            </a:lvl1pPr>
          </a:lstStyle>
          <a:p>
            <a:r>
              <a:rPr lang="nl-NL" dirty="0"/>
              <a:t> </a:t>
            </a:r>
          </a:p>
          <a:p>
            <a:endParaRPr lang="en-GB" dirty="0"/>
          </a:p>
        </p:txBody>
      </p:sp>
    </p:spTree>
    <p:extLst>
      <p:ext uri="{BB962C8B-B14F-4D97-AF65-F5344CB8AC3E}">
        <p14:creationId xmlns:p14="http://schemas.microsoft.com/office/powerpoint/2010/main" val="439625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ustom Content">
    <p:spTree>
      <p:nvGrpSpPr>
        <p:cNvPr id="1" name=""/>
        <p:cNvGrpSpPr/>
        <p:nvPr/>
      </p:nvGrpSpPr>
      <p:grpSpPr>
        <a:xfrm>
          <a:off x="0" y="0"/>
          <a:ext cx="0" cy="0"/>
          <a:chOff x="0" y="0"/>
          <a:chExt cx="0" cy="0"/>
        </a:xfrm>
      </p:grpSpPr>
      <p:sp>
        <p:nvSpPr>
          <p:cNvPr id="14" name="Title 13"/>
          <p:cNvSpPr>
            <a:spLocks noGrp="1"/>
          </p:cNvSpPr>
          <p:nvPr>
            <p:ph type="title"/>
          </p:nvPr>
        </p:nvSpPr>
        <p:spPr>
          <a:xfrm>
            <a:off x="1815728" y="2751911"/>
            <a:ext cx="20701840" cy="1398278"/>
          </a:xfrm>
          <a:prstGeom prst="rect">
            <a:avLst/>
          </a:prstGeom>
        </p:spPr>
        <p:txBody>
          <a:bodyPr/>
          <a:lstStyle>
            <a:lvl1pPr>
              <a:defRPr lang="en-US" sz="5334" b="1" dirty="0" smtClean="0">
                <a:latin typeface="Campton Book" panose="00000800000000000000" pitchFamily="50" charset="0"/>
              </a:defRPr>
            </a:lvl1pPr>
          </a:lstStyle>
          <a:p>
            <a:r>
              <a:rPr lang="en-US" dirty="0"/>
              <a:t>Click to edit Master title style</a:t>
            </a:r>
            <a:endParaRPr lang="en-GB" dirty="0"/>
          </a:p>
        </p:txBody>
      </p:sp>
      <p:sp>
        <p:nvSpPr>
          <p:cNvPr id="16" name="Text Placeholder 15"/>
          <p:cNvSpPr>
            <a:spLocks noGrp="1"/>
          </p:cNvSpPr>
          <p:nvPr>
            <p:ph type="body" sz="quarter" idx="11"/>
          </p:nvPr>
        </p:nvSpPr>
        <p:spPr>
          <a:xfrm>
            <a:off x="1816101" y="4491571"/>
            <a:ext cx="20701470" cy="8588706"/>
          </a:xfrm>
          <a:prstGeom prst="rect">
            <a:avLst/>
          </a:prstGeom>
        </p:spPr>
        <p:txBody>
          <a:bodyPr/>
          <a:lstStyle>
            <a:lvl1pPr marL="0" indent="0">
              <a:buNone/>
              <a:defRPr lang="en-US" sz="4266" dirty="0" smtClean="0">
                <a:latin typeface="Campton Light" panose="00000400000000000000" pitchFamily="50" charset="0"/>
              </a:defRPr>
            </a:lvl1pPr>
            <a:lvl2pPr>
              <a:defRPr lang="en-US" sz="3734" dirty="0" smtClean="0">
                <a:latin typeface="Campton Light" panose="00000400000000000000" pitchFamily="50" charset="0"/>
              </a:defRPr>
            </a:lvl2pPr>
            <a:lvl3pPr>
              <a:defRPr lang="en-US" sz="3734" dirty="0" smtClean="0">
                <a:latin typeface="Campton Light" panose="00000400000000000000" pitchFamily="50" charset="0"/>
              </a:defRPr>
            </a:lvl3pPr>
            <a:lvl4pPr>
              <a:defRPr sz="2934">
                <a:latin typeface="Campton Light" panose="00000400000000000000" pitchFamily="50" charset="0"/>
              </a:defRPr>
            </a:lvl4pPr>
            <a:lvl5pPr>
              <a:defRPr sz="2934">
                <a:latin typeface="Campton Light" panose="00000400000000000000" pitchFamily="50" charset="0"/>
              </a:defRPr>
            </a:lvl5pPr>
          </a:lstStyle>
          <a:p>
            <a:pPr lvl="0"/>
            <a:r>
              <a:rPr lang="en-US" dirty="0"/>
              <a:t>Click to edit Master text styles</a:t>
            </a:r>
          </a:p>
          <a:p>
            <a:pPr lvl="1"/>
            <a:r>
              <a:rPr lang="en-US" dirty="0"/>
              <a:t>Second level</a:t>
            </a:r>
          </a:p>
          <a:p>
            <a:pPr lvl="2"/>
            <a:r>
              <a:rPr lang="en-US" dirty="0"/>
              <a:t>Third level</a:t>
            </a:r>
          </a:p>
        </p:txBody>
      </p:sp>
      <p:sp>
        <p:nvSpPr>
          <p:cNvPr id="9" name="SmartArt Placeholder 2"/>
          <p:cNvSpPr>
            <a:spLocks noGrp="1"/>
          </p:cNvSpPr>
          <p:nvPr>
            <p:ph type="dgm" sz="quarter" idx="12" hasCustomPrompt="1"/>
          </p:nvPr>
        </p:nvSpPr>
        <p:spPr>
          <a:xfrm>
            <a:off x="2071136" y="2359725"/>
            <a:ext cx="2650752" cy="205678"/>
          </a:xfrm>
          <a:prstGeom prst="rect">
            <a:avLst/>
          </a:prstGeom>
          <a:solidFill>
            <a:schemeClr val="tx1"/>
          </a:solidFill>
        </p:spPr>
        <p:txBody>
          <a:bodyPr/>
          <a:lstStyle>
            <a:lvl1pPr marL="0" indent="0">
              <a:buNone/>
              <a:defRPr sz="2134" b="1"/>
            </a:lvl1pPr>
          </a:lstStyle>
          <a:p>
            <a:r>
              <a:rPr lang="nl-NL" dirty="0"/>
              <a:t> </a:t>
            </a:r>
          </a:p>
          <a:p>
            <a:endParaRPr lang="en-GB" dirty="0"/>
          </a:p>
        </p:txBody>
      </p:sp>
      <p:pic>
        <p:nvPicPr>
          <p:cNvPr id="10" name="Picture 9"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0608" y="601134"/>
            <a:ext cx="3531280" cy="660000"/>
          </a:xfrm>
          <a:prstGeom prst="rect">
            <a:avLst/>
          </a:prstGeom>
        </p:spPr>
      </p:pic>
    </p:spTree>
    <p:extLst>
      <p:ext uri="{BB962C8B-B14F-4D97-AF65-F5344CB8AC3E}">
        <p14:creationId xmlns:p14="http://schemas.microsoft.com/office/powerpoint/2010/main" val="372663485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List + qoute">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18009690" y="2977005"/>
            <a:ext cx="4068232" cy="5122334"/>
          </a:xfrm>
          <a:prstGeom prst="rect">
            <a:avLst/>
          </a:prstGeom>
        </p:spPr>
        <p:txBody>
          <a:bodyPr/>
          <a:lstStyle>
            <a:lvl1pPr marL="0" indent="0">
              <a:lnSpc>
                <a:spcPct val="100000"/>
              </a:lnSpc>
              <a:buNone/>
              <a:defRPr lang="en-GB" sz="3734" dirty="0">
                <a:latin typeface="Campton Light" panose="00000400000000000000" pitchFamily="50" charset="0"/>
              </a:defRPr>
            </a:lvl1pPr>
          </a:lstStyle>
          <a:p>
            <a:pPr lvl="0"/>
            <a:r>
              <a:rPr lang="en-US" dirty="0"/>
              <a:t>Click to edit quote / text</a:t>
            </a:r>
            <a:endParaRPr lang="en-GB" dirty="0"/>
          </a:p>
        </p:txBody>
      </p:sp>
      <p:sp>
        <p:nvSpPr>
          <p:cNvPr id="14" name="Title 13"/>
          <p:cNvSpPr>
            <a:spLocks noGrp="1"/>
          </p:cNvSpPr>
          <p:nvPr>
            <p:ph type="title" hasCustomPrompt="1"/>
          </p:nvPr>
        </p:nvSpPr>
        <p:spPr>
          <a:xfrm>
            <a:off x="1815731" y="2751911"/>
            <a:ext cx="15949758" cy="1398278"/>
          </a:xfrm>
          <a:prstGeom prst="rect">
            <a:avLst/>
          </a:prstGeom>
        </p:spPr>
        <p:txBody>
          <a:bodyPr/>
          <a:lstStyle>
            <a:lvl1pPr>
              <a:defRPr sz="5334" b="1" baseline="0">
                <a:latin typeface="Campton Book" panose="00000800000000000000" pitchFamily="50" charset="0"/>
              </a:defRPr>
            </a:lvl1pPr>
          </a:lstStyle>
          <a:p>
            <a:r>
              <a:rPr lang="en-US" dirty="0"/>
              <a:t>Enter list title</a:t>
            </a:r>
            <a:endParaRPr lang="en-GB" dirty="0"/>
          </a:p>
        </p:txBody>
      </p:sp>
      <p:sp>
        <p:nvSpPr>
          <p:cNvPr id="9" name="SmartArt Placeholder 2"/>
          <p:cNvSpPr>
            <a:spLocks noGrp="1"/>
          </p:cNvSpPr>
          <p:nvPr>
            <p:ph type="dgm" sz="quarter" idx="12" hasCustomPrompt="1"/>
          </p:nvPr>
        </p:nvSpPr>
        <p:spPr>
          <a:xfrm>
            <a:off x="2071136" y="2359725"/>
            <a:ext cx="2650752" cy="205678"/>
          </a:xfrm>
          <a:prstGeom prst="rect">
            <a:avLst/>
          </a:prstGeom>
          <a:solidFill>
            <a:schemeClr val="tx1"/>
          </a:solidFill>
        </p:spPr>
        <p:txBody>
          <a:bodyPr/>
          <a:lstStyle>
            <a:lvl1pPr marL="0" indent="0">
              <a:buNone/>
              <a:defRPr sz="2134" b="1"/>
            </a:lvl1pPr>
          </a:lstStyle>
          <a:p>
            <a:r>
              <a:rPr lang="nl-NL" dirty="0"/>
              <a:t> </a:t>
            </a:r>
            <a:endParaRPr lang="en-GB" dirty="0"/>
          </a:p>
        </p:txBody>
      </p:sp>
      <p:sp>
        <p:nvSpPr>
          <p:cNvPr id="15" name="SmartArt Placeholder 2"/>
          <p:cNvSpPr>
            <a:spLocks noGrp="1"/>
          </p:cNvSpPr>
          <p:nvPr>
            <p:ph type="dgm" sz="quarter" idx="13" hasCustomPrompt="1"/>
          </p:nvPr>
        </p:nvSpPr>
        <p:spPr>
          <a:xfrm>
            <a:off x="18240670" y="2363195"/>
            <a:ext cx="2650752" cy="205678"/>
          </a:xfrm>
          <a:prstGeom prst="rect">
            <a:avLst/>
          </a:prstGeom>
          <a:solidFill>
            <a:schemeClr val="tx1"/>
          </a:solidFill>
        </p:spPr>
        <p:txBody>
          <a:bodyPr/>
          <a:lstStyle>
            <a:lvl1pPr marL="0" indent="0">
              <a:buNone/>
              <a:defRPr sz="2134" b="1"/>
            </a:lvl1pPr>
          </a:lstStyle>
          <a:p>
            <a:r>
              <a:rPr lang="nl-NL" dirty="0"/>
              <a:t>  </a:t>
            </a:r>
            <a:endParaRPr lang="en-GB" dirty="0"/>
          </a:p>
        </p:txBody>
      </p:sp>
      <p:pic>
        <p:nvPicPr>
          <p:cNvPr id="17" name="Picture 16"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0608" y="601134"/>
            <a:ext cx="3531280" cy="660000"/>
          </a:xfrm>
          <a:prstGeom prst="rect">
            <a:avLst/>
          </a:prstGeom>
        </p:spPr>
      </p:pic>
      <p:sp>
        <p:nvSpPr>
          <p:cNvPr id="8" name="Text Placeholder 15"/>
          <p:cNvSpPr>
            <a:spLocks noGrp="1"/>
          </p:cNvSpPr>
          <p:nvPr>
            <p:ph type="body" sz="quarter" idx="11" hasCustomPrompt="1"/>
          </p:nvPr>
        </p:nvSpPr>
        <p:spPr>
          <a:xfrm>
            <a:off x="1816102" y="4491571"/>
            <a:ext cx="15951200" cy="8588706"/>
          </a:xfrm>
          <a:prstGeom prst="rect">
            <a:avLst/>
          </a:prstGeom>
        </p:spPr>
        <p:txBody>
          <a:bodyPr/>
          <a:lstStyle>
            <a:lvl1pPr marL="914378" marR="0" indent="-914378" algn="l" defTabSz="1219170" rtl="0" eaLnBrk="1" fontAlgn="auto" latinLnBrk="0" hangingPunct="1">
              <a:lnSpc>
                <a:spcPct val="120000"/>
              </a:lnSpc>
              <a:spcBef>
                <a:spcPts val="0"/>
              </a:spcBef>
              <a:spcAft>
                <a:spcPts val="0"/>
              </a:spcAft>
              <a:buClrTx/>
              <a:buSzTx/>
              <a:buFont typeface="Calibri" panose="020F0502020204030204" pitchFamily="34" charset="0"/>
              <a:buChar char="→"/>
              <a:tabLst/>
              <a:defRPr lang="en-US" sz="4266" b="0" baseline="0" dirty="0" smtClean="0">
                <a:latin typeface="Campton Light" panose="00000400000000000000" pitchFamily="50" charset="0"/>
              </a:defRPr>
            </a:lvl1pPr>
            <a:lvl2pPr>
              <a:defRPr lang="en-US" sz="4800" dirty="0" smtClean="0">
                <a:latin typeface="+mn-lt"/>
              </a:defRPr>
            </a:lvl2pPr>
            <a:lvl3pPr>
              <a:defRPr lang="en-US" sz="4800" dirty="0" smtClean="0">
                <a:latin typeface="+mn-lt"/>
              </a:defRPr>
            </a:lvl3pPr>
            <a:lvl4pPr>
              <a:defRPr sz="2934">
                <a:latin typeface="Campton Light" panose="00000400000000000000" pitchFamily="50" charset="0"/>
              </a:defRPr>
            </a:lvl4pPr>
            <a:lvl5pPr>
              <a:defRPr sz="2934">
                <a:latin typeface="Campton Light" panose="00000400000000000000" pitchFamily="50" charset="0"/>
              </a:defRPr>
            </a:lvl5pPr>
          </a:lstStyle>
          <a:p>
            <a:pPr lvl="0"/>
            <a:r>
              <a:rPr lang="en-US" dirty="0"/>
              <a:t>Click to edit Master text styles </a:t>
            </a:r>
          </a:p>
          <a:p>
            <a:pPr lvl="0"/>
            <a:r>
              <a:rPr lang="en-US" dirty="0"/>
              <a:t>No quick fixes</a:t>
            </a:r>
          </a:p>
          <a:p>
            <a:pPr lvl="0"/>
            <a:endParaRPr kumimoji="0" lang="en-US" sz="4800" b="0" i="0" u="none" strike="noStrike" kern="1200" cap="none" spc="0" normalizeH="0" baseline="0" noProof="0" dirty="0">
              <a:ln>
                <a:noFill/>
              </a:ln>
              <a:solidFill>
                <a:prstClr val="black"/>
              </a:solidFill>
              <a:effectLst/>
              <a:uLnTx/>
              <a:uFillTx/>
              <a:latin typeface="+mn-lt"/>
              <a:ea typeface="+mn-ea"/>
              <a:cs typeface="+mn-cs"/>
            </a:endParaRPr>
          </a:p>
          <a:p>
            <a:pPr lvl="0"/>
            <a:endParaRPr lang="en-US" dirty="0"/>
          </a:p>
        </p:txBody>
      </p:sp>
    </p:spTree>
    <p:extLst>
      <p:ext uri="{BB962C8B-B14F-4D97-AF65-F5344CB8AC3E}">
        <p14:creationId xmlns:p14="http://schemas.microsoft.com/office/powerpoint/2010/main" val="216077309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0-50 layout">
    <p:spTree>
      <p:nvGrpSpPr>
        <p:cNvPr id="1" name=""/>
        <p:cNvGrpSpPr/>
        <p:nvPr/>
      </p:nvGrpSpPr>
      <p:grpSpPr>
        <a:xfrm>
          <a:off x="0" y="0"/>
          <a:ext cx="0" cy="0"/>
          <a:chOff x="0" y="0"/>
          <a:chExt cx="0" cy="0"/>
        </a:xfrm>
      </p:grpSpPr>
      <p:sp>
        <p:nvSpPr>
          <p:cNvPr id="14" name="Title 13"/>
          <p:cNvSpPr>
            <a:spLocks noGrp="1"/>
          </p:cNvSpPr>
          <p:nvPr>
            <p:ph type="title" hasCustomPrompt="1"/>
          </p:nvPr>
        </p:nvSpPr>
        <p:spPr>
          <a:xfrm>
            <a:off x="1849597" y="2684177"/>
            <a:ext cx="8479738" cy="1398278"/>
          </a:xfrm>
          <a:prstGeom prst="rect">
            <a:avLst/>
          </a:prstGeom>
        </p:spPr>
        <p:txBody>
          <a:bodyPr/>
          <a:lstStyle>
            <a:lvl1pPr marL="0" marR="0" indent="0" algn="l" defTabSz="2438340" rtl="0" eaLnBrk="1" fontAlgn="auto" latinLnBrk="0" hangingPunct="1">
              <a:lnSpc>
                <a:spcPct val="90000"/>
              </a:lnSpc>
              <a:spcBef>
                <a:spcPct val="0"/>
              </a:spcBef>
              <a:spcAft>
                <a:spcPts val="0"/>
              </a:spcAft>
              <a:buClrTx/>
              <a:buSzTx/>
              <a:buFontTx/>
              <a:buNone/>
              <a:tabLst/>
              <a:defRPr lang="en-GB" sz="4800" b="1" dirty="0">
                <a:latin typeface="Campton Book" panose="00000800000000000000" pitchFamily="50" charset="0"/>
              </a:defRPr>
            </a:lvl1pPr>
          </a:lstStyle>
          <a:p>
            <a:pPr marL="0" marR="0" lvl="0" indent="0" algn="l" defTabSz="2438340" rtl="0" eaLnBrk="1" fontAlgn="auto" latinLnBrk="0" hangingPunct="1">
              <a:lnSpc>
                <a:spcPct val="90000"/>
              </a:lnSpc>
              <a:spcBef>
                <a:spcPct val="0"/>
              </a:spcBef>
              <a:spcAft>
                <a:spcPts val="0"/>
              </a:spcAft>
              <a:buClrTx/>
              <a:buSzTx/>
              <a:buFontTx/>
              <a:buNone/>
              <a:tabLst/>
              <a:defRPr/>
            </a:pPr>
            <a:r>
              <a:rPr lang="en-US" dirty="0"/>
              <a:t>Introducing DRIFT</a:t>
            </a:r>
            <a:br>
              <a:rPr lang="en-US" dirty="0"/>
            </a:br>
            <a:endParaRPr lang="en-GB" dirty="0"/>
          </a:p>
        </p:txBody>
      </p:sp>
      <p:sp>
        <p:nvSpPr>
          <p:cNvPr id="16" name="Text Placeholder 15"/>
          <p:cNvSpPr>
            <a:spLocks noGrp="1"/>
          </p:cNvSpPr>
          <p:nvPr>
            <p:ph type="body" sz="quarter" idx="11" hasCustomPrompt="1"/>
          </p:nvPr>
        </p:nvSpPr>
        <p:spPr>
          <a:xfrm>
            <a:off x="1714501" y="10105015"/>
            <a:ext cx="8760318" cy="3263898"/>
          </a:xfrm>
          <a:prstGeom prst="rect">
            <a:avLst/>
          </a:prstGeom>
        </p:spPr>
        <p:txBody>
          <a:bodyPr/>
          <a:lstStyle>
            <a:lvl1pPr marL="761980" indent="-761980">
              <a:buFont typeface="Calibri" panose="020F0502020204030204" pitchFamily="34" charset="0"/>
              <a:buChar char="‒"/>
              <a:defRPr lang="en-US" sz="4266" dirty="0" smtClean="0">
                <a:latin typeface="Campton Light" panose="00000400000000000000" pitchFamily="50" charset="0"/>
              </a:defRPr>
            </a:lvl1pPr>
            <a:lvl2pPr>
              <a:defRPr sz="3734">
                <a:latin typeface="Campton Light" panose="00000400000000000000" pitchFamily="50" charset="0"/>
              </a:defRPr>
            </a:lvl2pPr>
            <a:lvl3pPr>
              <a:defRPr sz="3200">
                <a:latin typeface="Campton Light" panose="00000400000000000000" pitchFamily="50" charset="0"/>
              </a:defRPr>
            </a:lvl3pPr>
            <a:lvl4pPr>
              <a:defRPr sz="2934">
                <a:latin typeface="Campton Light" panose="00000400000000000000" pitchFamily="50" charset="0"/>
              </a:defRPr>
            </a:lvl4pPr>
            <a:lvl5pPr>
              <a:defRPr sz="2934">
                <a:latin typeface="Campton Light" panose="00000400000000000000" pitchFamily="50" charset="0"/>
              </a:defRPr>
            </a:lvl5pPr>
          </a:lstStyle>
          <a:p>
            <a:pPr lvl="0"/>
            <a:r>
              <a:rPr lang="en-US" dirty="0"/>
              <a:t>Advancing transition theory</a:t>
            </a:r>
          </a:p>
          <a:p>
            <a:pPr lvl="0"/>
            <a:r>
              <a:rPr lang="en-US" dirty="0"/>
              <a:t>Accelerate transition to a sustainable society</a:t>
            </a:r>
          </a:p>
          <a:p>
            <a:pPr lvl="0"/>
            <a:endParaRPr lang="en-US" dirty="0"/>
          </a:p>
        </p:txBody>
      </p:sp>
      <p:sp>
        <p:nvSpPr>
          <p:cNvPr id="9" name="SmartArt Placeholder 2"/>
          <p:cNvSpPr>
            <a:spLocks noGrp="1"/>
          </p:cNvSpPr>
          <p:nvPr>
            <p:ph type="dgm" sz="quarter" idx="12" hasCustomPrompt="1"/>
          </p:nvPr>
        </p:nvSpPr>
        <p:spPr>
          <a:xfrm>
            <a:off x="2071136" y="2359725"/>
            <a:ext cx="2650752" cy="205678"/>
          </a:xfrm>
          <a:prstGeom prst="rect">
            <a:avLst/>
          </a:prstGeom>
          <a:solidFill>
            <a:schemeClr val="tx1"/>
          </a:solidFill>
        </p:spPr>
        <p:txBody>
          <a:bodyPr/>
          <a:lstStyle>
            <a:lvl1pPr marL="0" indent="0">
              <a:buNone/>
              <a:defRPr sz="2134" b="1"/>
            </a:lvl1pPr>
          </a:lstStyle>
          <a:p>
            <a:r>
              <a:rPr lang="nl-NL" dirty="0"/>
              <a:t> </a:t>
            </a:r>
          </a:p>
          <a:p>
            <a:endParaRPr lang="en-GB" dirty="0"/>
          </a:p>
        </p:txBody>
      </p:sp>
      <p:pic>
        <p:nvPicPr>
          <p:cNvPr id="10" name="Picture 9"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0608" y="601134"/>
            <a:ext cx="3531280" cy="660000"/>
          </a:xfrm>
          <a:prstGeom prst="rect">
            <a:avLst/>
          </a:prstGeom>
        </p:spPr>
      </p:pic>
      <p:sp>
        <p:nvSpPr>
          <p:cNvPr id="3" name="Picture Placeholder 2"/>
          <p:cNvSpPr>
            <a:spLocks noGrp="1"/>
          </p:cNvSpPr>
          <p:nvPr>
            <p:ph type="pic" sz="quarter" idx="13" hasCustomPrompt="1"/>
          </p:nvPr>
        </p:nvSpPr>
        <p:spPr>
          <a:xfrm>
            <a:off x="12192002" y="0"/>
            <a:ext cx="12192000" cy="13716000"/>
          </a:xfrm>
          <a:prstGeom prst="rect">
            <a:avLst/>
          </a:prstGeom>
          <a:blipFill>
            <a:blip r:embed="rId3">
              <a:extLst>
                <a:ext uri="{28A0092B-C50C-407E-A947-70E740481C1C}">
                  <a14:useLocalDpi xmlns:a14="http://schemas.microsoft.com/office/drawing/2010/main" val="0"/>
                </a:ext>
              </a:extLst>
            </a:blip>
            <a:stretch>
              <a:fillRect/>
            </a:stretch>
          </a:blipFill>
        </p:spPr>
        <p:txBody>
          <a:bodyPr/>
          <a:lstStyle>
            <a:lvl1pPr marL="0" indent="0">
              <a:buNone/>
              <a:defRPr/>
            </a:lvl1pPr>
          </a:lstStyle>
          <a:p>
            <a:r>
              <a:rPr lang="nl-NL" dirty="0"/>
              <a:t> </a:t>
            </a:r>
            <a:endParaRPr lang="en-GB" dirty="0"/>
          </a:p>
        </p:txBody>
      </p:sp>
      <p:sp>
        <p:nvSpPr>
          <p:cNvPr id="8" name="Title 13"/>
          <p:cNvSpPr txBox="1">
            <a:spLocks/>
          </p:cNvSpPr>
          <p:nvPr userDrawn="1"/>
        </p:nvSpPr>
        <p:spPr>
          <a:xfrm>
            <a:off x="1732107" y="9199323"/>
            <a:ext cx="2602830" cy="939558"/>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lang="en-GB" sz="2400" b="1" kern="1200" dirty="0">
                <a:solidFill>
                  <a:schemeClr val="tx1"/>
                </a:solidFill>
                <a:latin typeface="+mn-lt"/>
                <a:ea typeface="+mj-ea"/>
                <a:cs typeface="+mj-cs"/>
              </a:defRPr>
            </a:lvl1pPr>
          </a:lstStyle>
          <a:p>
            <a:r>
              <a:rPr lang="en-US" sz="4800" dirty="0">
                <a:latin typeface="Campton Book" panose="00000800000000000000" pitchFamily="50" charset="0"/>
              </a:rPr>
              <a:t>goals</a:t>
            </a:r>
            <a:br>
              <a:rPr lang="en-US" sz="6400" dirty="0"/>
            </a:br>
            <a:endParaRPr lang="en-US" sz="6400" dirty="0"/>
          </a:p>
        </p:txBody>
      </p:sp>
      <p:sp>
        <p:nvSpPr>
          <p:cNvPr id="11" name="Text Placeholder 15"/>
          <p:cNvSpPr>
            <a:spLocks noGrp="1"/>
          </p:cNvSpPr>
          <p:nvPr>
            <p:ph type="body" sz="quarter" idx="14" hasCustomPrompt="1"/>
          </p:nvPr>
        </p:nvSpPr>
        <p:spPr>
          <a:xfrm>
            <a:off x="1849966" y="4579231"/>
            <a:ext cx="8479368" cy="3771662"/>
          </a:xfrm>
          <a:prstGeom prst="rect">
            <a:avLst/>
          </a:prstGeom>
        </p:spPr>
        <p:txBody>
          <a:bodyPr/>
          <a:lstStyle>
            <a:lvl1pPr marL="0" indent="0">
              <a:buNone/>
              <a:defRPr lang="en-US" sz="4266" dirty="0" smtClean="0">
                <a:latin typeface="Campton Light" panose="00000400000000000000" pitchFamily="50" charset="0"/>
              </a:defRPr>
            </a:lvl1pPr>
            <a:lvl2pPr>
              <a:defRPr sz="3734">
                <a:latin typeface="Campton Light" panose="00000400000000000000" pitchFamily="50" charset="0"/>
              </a:defRPr>
            </a:lvl2pPr>
            <a:lvl3pPr>
              <a:defRPr sz="3200">
                <a:latin typeface="Campton Light" panose="00000400000000000000" pitchFamily="50" charset="0"/>
              </a:defRPr>
            </a:lvl3pPr>
            <a:lvl4pPr>
              <a:defRPr sz="2934">
                <a:latin typeface="Campton Light" panose="00000400000000000000" pitchFamily="50" charset="0"/>
              </a:defRPr>
            </a:lvl4pPr>
            <a:lvl5pPr>
              <a:defRPr sz="2934">
                <a:latin typeface="Campton Light" panose="00000400000000000000" pitchFamily="50" charset="0"/>
              </a:defRPr>
            </a:lvl5pPr>
          </a:lstStyle>
          <a:p>
            <a:pPr lvl="0"/>
            <a:r>
              <a:rPr lang="en-US" dirty="0"/>
              <a:t>→</a:t>
            </a:r>
          </a:p>
        </p:txBody>
      </p:sp>
      <p:sp>
        <p:nvSpPr>
          <p:cNvPr id="12" name="SmartArt Placeholder 2"/>
          <p:cNvSpPr>
            <a:spLocks noGrp="1"/>
          </p:cNvSpPr>
          <p:nvPr>
            <p:ph type="dgm" sz="quarter" idx="15" hasCustomPrompt="1"/>
          </p:nvPr>
        </p:nvSpPr>
        <p:spPr>
          <a:xfrm>
            <a:off x="1951194" y="8993647"/>
            <a:ext cx="1333872" cy="205678"/>
          </a:xfrm>
          <a:prstGeom prst="rect">
            <a:avLst/>
          </a:prstGeom>
          <a:solidFill>
            <a:schemeClr val="tx1"/>
          </a:solidFill>
        </p:spPr>
        <p:txBody>
          <a:bodyPr/>
          <a:lstStyle>
            <a:lvl1pPr marL="0" indent="0">
              <a:buNone/>
              <a:defRPr sz="2134" b="1"/>
            </a:lvl1pPr>
          </a:lstStyle>
          <a:p>
            <a:r>
              <a:rPr lang="nl-NL" dirty="0"/>
              <a:t> </a:t>
            </a:r>
          </a:p>
          <a:p>
            <a:endParaRPr lang="en-GB" dirty="0"/>
          </a:p>
        </p:txBody>
      </p:sp>
    </p:spTree>
    <p:extLst>
      <p:ext uri="{BB962C8B-B14F-4D97-AF65-F5344CB8AC3E}">
        <p14:creationId xmlns:p14="http://schemas.microsoft.com/office/powerpoint/2010/main" val="86978035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ulture Structure Practices">
    <p:spTree>
      <p:nvGrpSpPr>
        <p:cNvPr id="1" name=""/>
        <p:cNvGrpSpPr/>
        <p:nvPr/>
      </p:nvGrpSpPr>
      <p:grpSpPr>
        <a:xfrm>
          <a:off x="0" y="0"/>
          <a:ext cx="0" cy="0"/>
          <a:chOff x="0" y="0"/>
          <a:chExt cx="0" cy="0"/>
        </a:xfrm>
      </p:grpSpPr>
      <p:sp>
        <p:nvSpPr>
          <p:cNvPr id="14" name="Title 13"/>
          <p:cNvSpPr>
            <a:spLocks noGrp="1"/>
          </p:cNvSpPr>
          <p:nvPr>
            <p:ph type="title" hasCustomPrompt="1"/>
          </p:nvPr>
        </p:nvSpPr>
        <p:spPr>
          <a:xfrm>
            <a:off x="1815729" y="2751910"/>
            <a:ext cx="18596634" cy="1213560"/>
          </a:xfrm>
          <a:prstGeom prst="rect">
            <a:avLst/>
          </a:prstGeom>
        </p:spPr>
        <p:txBody>
          <a:bodyPr/>
          <a:lstStyle>
            <a:lvl1pPr>
              <a:defRPr sz="4800" b="1" baseline="0">
                <a:latin typeface="Campton Book" panose="00000800000000000000" pitchFamily="50" charset="0"/>
              </a:defRPr>
            </a:lvl1pPr>
          </a:lstStyle>
          <a:p>
            <a:r>
              <a:rPr lang="en-US" dirty="0"/>
              <a:t>Transitions?</a:t>
            </a:r>
            <a:endParaRPr lang="en-GB" dirty="0"/>
          </a:p>
        </p:txBody>
      </p:sp>
      <p:sp>
        <p:nvSpPr>
          <p:cNvPr id="9" name="SmartArt Placeholder 2"/>
          <p:cNvSpPr>
            <a:spLocks noGrp="1"/>
          </p:cNvSpPr>
          <p:nvPr>
            <p:ph type="dgm" sz="quarter" idx="12" hasCustomPrompt="1"/>
          </p:nvPr>
        </p:nvSpPr>
        <p:spPr>
          <a:xfrm>
            <a:off x="2071136" y="2359725"/>
            <a:ext cx="2650752" cy="205678"/>
          </a:xfrm>
          <a:prstGeom prst="rect">
            <a:avLst/>
          </a:prstGeom>
          <a:solidFill>
            <a:schemeClr val="tx1"/>
          </a:solidFill>
        </p:spPr>
        <p:txBody>
          <a:bodyPr/>
          <a:lstStyle>
            <a:lvl1pPr marL="0" indent="0">
              <a:buNone/>
              <a:defRPr sz="2134" b="1"/>
            </a:lvl1pPr>
          </a:lstStyle>
          <a:p>
            <a:r>
              <a:rPr lang="nl-NL" dirty="0"/>
              <a:t> </a:t>
            </a:r>
            <a:endParaRPr lang="en-GB" dirty="0"/>
          </a:p>
        </p:txBody>
      </p:sp>
      <p:pic>
        <p:nvPicPr>
          <p:cNvPr id="17" name="Picture 16"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0608" y="601134"/>
            <a:ext cx="3531280" cy="660000"/>
          </a:xfrm>
          <a:prstGeom prst="rect">
            <a:avLst/>
          </a:prstGeom>
        </p:spPr>
      </p:pic>
      <p:sp>
        <p:nvSpPr>
          <p:cNvPr id="22" name="SmartArt Placeholder 2"/>
          <p:cNvSpPr>
            <a:spLocks noGrp="1"/>
          </p:cNvSpPr>
          <p:nvPr>
            <p:ph type="dgm" sz="quarter" idx="14" hasCustomPrompt="1"/>
          </p:nvPr>
        </p:nvSpPr>
        <p:spPr>
          <a:xfrm>
            <a:off x="2071138" y="7125402"/>
            <a:ext cx="1214648" cy="229808"/>
          </a:xfrm>
          <a:prstGeom prst="rect">
            <a:avLst/>
          </a:prstGeom>
          <a:solidFill>
            <a:schemeClr val="tx1"/>
          </a:solidFill>
        </p:spPr>
        <p:txBody>
          <a:bodyPr/>
          <a:lstStyle>
            <a:lvl1pPr marL="0" indent="0">
              <a:buNone/>
              <a:defRPr sz="2134" b="1"/>
            </a:lvl1pPr>
          </a:lstStyle>
          <a:p>
            <a:r>
              <a:rPr lang="nl-NL" dirty="0"/>
              <a:t> </a:t>
            </a:r>
            <a:endParaRPr lang="en-GB" dirty="0"/>
          </a:p>
        </p:txBody>
      </p:sp>
      <p:sp>
        <p:nvSpPr>
          <p:cNvPr id="25" name="SmartArt Placeholder 2"/>
          <p:cNvSpPr>
            <a:spLocks noGrp="1"/>
          </p:cNvSpPr>
          <p:nvPr>
            <p:ph type="dgm" sz="quarter" idx="15" hasCustomPrompt="1"/>
          </p:nvPr>
        </p:nvSpPr>
        <p:spPr>
          <a:xfrm>
            <a:off x="9433090" y="7125402"/>
            <a:ext cx="1214648" cy="229808"/>
          </a:xfrm>
          <a:prstGeom prst="rect">
            <a:avLst/>
          </a:prstGeom>
          <a:solidFill>
            <a:schemeClr val="tx1"/>
          </a:solidFill>
        </p:spPr>
        <p:txBody>
          <a:bodyPr/>
          <a:lstStyle>
            <a:lvl1pPr marL="0" indent="0">
              <a:buNone/>
              <a:defRPr sz="2134" b="1"/>
            </a:lvl1pPr>
          </a:lstStyle>
          <a:p>
            <a:r>
              <a:rPr lang="nl-NL" dirty="0"/>
              <a:t> </a:t>
            </a:r>
            <a:endParaRPr lang="en-GB" dirty="0"/>
          </a:p>
        </p:txBody>
      </p:sp>
      <p:sp>
        <p:nvSpPr>
          <p:cNvPr id="27" name="SmartArt Placeholder 2"/>
          <p:cNvSpPr>
            <a:spLocks noGrp="1"/>
          </p:cNvSpPr>
          <p:nvPr>
            <p:ph type="dgm" sz="quarter" idx="16" hasCustomPrompt="1"/>
          </p:nvPr>
        </p:nvSpPr>
        <p:spPr>
          <a:xfrm>
            <a:off x="16756300" y="7125402"/>
            <a:ext cx="1214648" cy="229808"/>
          </a:xfrm>
          <a:prstGeom prst="rect">
            <a:avLst/>
          </a:prstGeom>
          <a:solidFill>
            <a:schemeClr val="tx1"/>
          </a:solidFill>
        </p:spPr>
        <p:txBody>
          <a:bodyPr/>
          <a:lstStyle>
            <a:lvl1pPr marL="0" indent="0">
              <a:buNone/>
              <a:defRPr sz="2134" b="1"/>
            </a:lvl1pPr>
          </a:lstStyle>
          <a:p>
            <a:r>
              <a:rPr lang="nl-NL" dirty="0"/>
              <a:t> </a:t>
            </a:r>
            <a:endParaRPr lang="en-GB" dirty="0"/>
          </a:p>
        </p:txBody>
      </p:sp>
      <p:sp>
        <p:nvSpPr>
          <p:cNvPr id="28" name="Text Placeholder 12"/>
          <p:cNvSpPr>
            <a:spLocks noGrp="1"/>
          </p:cNvSpPr>
          <p:nvPr>
            <p:ph type="body" sz="quarter" idx="17" hasCustomPrompt="1"/>
          </p:nvPr>
        </p:nvSpPr>
        <p:spPr>
          <a:xfrm>
            <a:off x="1815729" y="7365927"/>
            <a:ext cx="6201434" cy="912922"/>
          </a:xfrm>
          <a:prstGeom prst="rect">
            <a:avLst/>
          </a:prstGeom>
        </p:spPr>
        <p:txBody>
          <a:bodyPr/>
          <a:lstStyle>
            <a:lvl1pPr marL="0" indent="0">
              <a:lnSpc>
                <a:spcPct val="100000"/>
              </a:lnSpc>
              <a:buNone/>
              <a:defRPr sz="4266" b="1">
                <a:latin typeface="Campton Book" panose="00000800000000000000" pitchFamily="50" charset="0"/>
              </a:defRPr>
            </a:lvl1pPr>
          </a:lstStyle>
          <a:p>
            <a:pPr lvl="0"/>
            <a:r>
              <a:rPr lang="en-US" dirty="0"/>
              <a:t>culture</a:t>
            </a:r>
            <a:endParaRPr lang="en-GB" dirty="0"/>
          </a:p>
        </p:txBody>
      </p:sp>
      <p:sp>
        <p:nvSpPr>
          <p:cNvPr id="32" name="Text Placeholder 12"/>
          <p:cNvSpPr>
            <a:spLocks noGrp="1"/>
          </p:cNvSpPr>
          <p:nvPr>
            <p:ph type="body" sz="quarter" idx="19" hasCustomPrompt="1"/>
          </p:nvPr>
        </p:nvSpPr>
        <p:spPr>
          <a:xfrm>
            <a:off x="9163767" y="7285853"/>
            <a:ext cx="6201434" cy="912922"/>
          </a:xfrm>
          <a:prstGeom prst="rect">
            <a:avLst/>
          </a:prstGeom>
        </p:spPr>
        <p:txBody>
          <a:bodyPr/>
          <a:lstStyle>
            <a:lvl1pPr marL="0" indent="0">
              <a:lnSpc>
                <a:spcPct val="100000"/>
              </a:lnSpc>
              <a:buNone/>
              <a:defRPr sz="4266" b="0">
                <a:latin typeface="Campton Book" panose="00000800000000000000" pitchFamily="50" charset="0"/>
              </a:defRPr>
            </a:lvl1pPr>
          </a:lstStyle>
          <a:p>
            <a:pPr lvl="0"/>
            <a:r>
              <a:rPr lang="en-US" dirty="0"/>
              <a:t>structure</a:t>
            </a:r>
            <a:endParaRPr lang="en-GB" dirty="0"/>
          </a:p>
        </p:txBody>
      </p:sp>
      <p:sp>
        <p:nvSpPr>
          <p:cNvPr id="33" name="Text Placeholder 12"/>
          <p:cNvSpPr>
            <a:spLocks noGrp="1"/>
          </p:cNvSpPr>
          <p:nvPr>
            <p:ph type="body" sz="quarter" idx="20" hasCustomPrompt="1"/>
          </p:nvPr>
        </p:nvSpPr>
        <p:spPr>
          <a:xfrm>
            <a:off x="9163767" y="8115894"/>
            <a:ext cx="6201434" cy="3483336"/>
          </a:xfrm>
          <a:prstGeom prst="rect">
            <a:avLst/>
          </a:prstGeom>
        </p:spPr>
        <p:txBody>
          <a:bodyPr/>
          <a:lstStyle>
            <a:lvl1pPr marL="0" indent="0">
              <a:lnSpc>
                <a:spcPct val="100000"/>
              </a:lnSpc>
              <a:buNone/>
              <a:defRPr sz="3734">
                <a:latin typeface="Campton Light" panose="00000400000000000000" pitchFamily="50" charset="0"/>
              </a:defRPr>
            </a:lvl1pPr>
          </a:lstStyle>
          <a:p>
            <a:pPr lvl="0"/>
            <a:r>
              <a:rPr lang="en-US" dirty="0"/>
              <a:t>Institutional, economic, physical, regulatory, implicit rules</a:t>
            </a:r>
          </a:p>
          <a:p>
            <a:pPr lvl="0"/>
            <a:endParaRPr lang="en-GB" dirty="0"/>
          </a:p>
        </p:txBody>
      </p:sp>
      <p:sp>
        <p:nvSpPr>
          <p:cNvPr id="34" name="Text Placeholder 12"/>
          <p:cNvSpPr>
            <a:spLocks noGrp="1"/>
          </p:cNvSpPr>
          <p:nvPr>
            <p:ph type="body" sz="quarter" idx="21" hasCustomPrompt="1"/>
          </p:nvPr>
        </p:nvSpPr>
        <p:spPr>
          <a:xfrm>
            <a:off x="16511805" y="7285853"/>
            <a:ext cx="6201434" cy="912922"/>
          </a:xfrm>
          <a:prstGeom prst="rect">
            <a:avLst/>
          </a:prstGeom>
        </p:spPr>
        <p:txBody>
          <a:bodyPr/>
          <a:lstStyle>
            <a:lvl1pPr marL="0" indent="0">
              <a:lnSpc>
                <a:spcPct val="100000"/>
              </a:lnSpc>
              <a:buNone/>
              <a:defRPr sz="4266" b="1">
                <a:latin typeface="Campton Book" panose="00000800000000000000" pitchFamily="50" charset="0"/>
              </a:defRPr>
            </a:lvl1pPr>
          </a:lstStyle>
          <a:p>
            <a:pPr lvl="0"/>
            <a:r>
              <a:rPr lang="en-US" dirty="0"/>
              <a:t>Practices</a:t>
            </a:r>
            <a:endParaRPr lang="en-GB" dirty="0"/>
          </a:p>
        </p:txBody>
      </p:sp>
      <p:sp>
        <p:nvSpPr>
          <p:cNvPr id="35" name="Text Placeholder 12"/>
          <p:cNvSpPr>
            <a:spLocks noGrp="1"/>
          </p:cNvSpPr>
          <p:nvPr>
            <p:ph type="body" sz="quarter" idx="22" hasCustomPrompt="1"/>
          </p:nvPr>
        </p:nvSpPr>
        <p:spPr>
          <a:xfrm>
            <a:off x="16511805" y="8115894"/>
            <a:ext cx="6201434" cy="3483336"/>
          </a:xfrm>
          <a:prstGeom prst="rect">
            <a:avLst/>
          </a:prstGeom>
        </p:spPr>
        <p:txBody>
          <a:bodyPr/>
          <a:lstStyle>
            <a:lvl1pPr marL="0" indent="0">
              <a:lnSpc>
                <a:spcPct val="100000"/>
              </a:lnSpc>
              <a:buNone/>
              <a:defRPr sz="3734">
                <a:latin typeface="Campton Light" panose="00000400000000000000" pitchFamily="50" charset="0"/>
              </a:defRPr>
            </a:lvl1pPr>
          </a:lstStyle>
          <a:p>
            <a:pPr lvl="0"/>
            <a:r>
              <a:rPr lang="en-US" dirty="0"/>
              <a:t>Daily routines, behavior, actions</a:t>
            </a:r>
            <a:endParaRPr lang="en-GB" dirty="0"/>
          </a:p>
        </p:txBody>
      </p:sp>
      <p:sp>
        <p:nvSpPr>
          <p:cNvPr id="38" name="Text Placeholder 12"/>
          <p:cNvSpPr>
            <a:spLocks noGrp="1"/>
          </p:cNvSpPr>
          <p:nvPr>
            <p:ph type="body" sz="quarter" idx="23" hasCustomPrompt="1"/>
          </p:nvPr>
        </p:nvSpPr>
        <p:spPr>
          <a:xfrm>
            <a:off x="1815729" y="8115892"/>
            <a:ext cx="6201434" cy="3483336"/>
          </a:xfrm>
          <a:prstGeom prst="rect">
            <a:avLst/>
          </a:prstGeom>
        </p:spPr>
        <p:txBody>
          <a:bodyPr/>
          <a:lstStyle>
            <a:lvl1pPr marL="0" indent="0">
              <a:lnSpc>
                <a:spcPct val="100000"/>
              </a:lnSpc>
              <a:buNone/>
              <a:defRPr sz="3734">
                <a:latin typeface="Campton Light" panose="00000400000000000000" pitchFamily="50" charset="0"/>
              </a:defRPr>
            </a:lvl1pPr>
          </a:lstStyle>
          <a:p>
            <a:pPr lvl="0"/>
            <a:r>
              <a:rPr lang="en-US" dirty="0"/>
              <a:t>discourses, shared beliefs, values and perspectives, paradigms</a:t>
            </a:r>
          </a:p>
          <a:p>
            <a:pPr lvl="0"/>
            <a:endParaRPr lang="en-GB" dirty="0"/>
          </a:p>
        </p:txBody>
      </p:sp>
      <p:sp>
        <p:nvSpPr>
          <p:cNvPr id="39" name="Text Placeholder 2"/>
          <p:cNvSpPr>
            <a:spLocks noGrp="1"/>
          </p:cNvSpPr>
          <p:nvPr>
            <p:ph type="body" sz="quarter" idx="24" hasCustomPrompt="1"/>
          </p:nvPr>
        </p:nvSpPr>
        <p:spPr>
          <a:xfrm>
            <a:off x="1816102" y="3992037"/>
            <a:ext cx="18597032" cy="2243666"/>
          </a:xfrm>
          <a:prstGeom prst="rect">
            <a:avLst/>
          </a:prstGeom>
        </p:spPr>
        <p:txBody>
          <a:bodyPr/>
          <a:lstStyle>
            <a:lvl1pPr marL="0" indent="0">
              <a:buNone/>
              <a:defRPr sz="4266">
                <a:latin typeface="Campton Light" panose="00000400000000000000" pitchFamily="50" charset="0"/>
              </a:defRPr>
            </a:lvl1pPr>
          </a:lstStyle>
          <a:p>
            <a:pPr lvl="0"/>
            <a:r>
              <a:rPr lang="en-US" dirty="0"/>
              <a:t>Fundamental change in culture, structure and practices at the level of a societal (sub)system</a:t>
            </a:r>
          </a:p>
        </p:txBody>
      </p:sp>
    </p:spTree>
    <p:extLst>
      <p:ext uri="{BB962C8B-B14F-4D97-AF65-F5344CB8AC3E}">
        <p14:creationId xmlns:p14="http://schemas.microsoft.com/office/powerpoint/2010/main" val="313785438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0-50 layout - open">
    <p:spTree>
      <p:nvGrpSpPr>
        <p:cNvPr id="1" name=""/>
        <p:cNvGrpSpPr/>
        <p:nvPr/>
      </p:nvGrpSpPr>
      <p:grpSpPr>
        <a:xfrm>
          <a:off x="0" y="0"/>
          <a:ext cx="0" cy="0"/>
          <a:chOff x="0" y="0"/>
          <a:chExt cx="0" cy="0"/>
        </a:xfrm>
      </p:grpSpPr>
      <p:sp>
        <p:nvSpPr>
          <p:cNvPr id="14" name="Title 13"/>
          <p:cNvSpPr>
            <a:spLocks noGrp="1"/>
          </p:cNvSpPr>
          <p:nvPr>
            <p:ph type="title" hasCustomPrompt="1"/>
          </p:nvPr>
        </p:nvSpPr>
        <p:spPr>
          <a:xfrm>
            <a:off x="1849597" y="2684177"/>
            <a:ext cx="8479738" cy="1398278"/>
          </a:xfrm>
          <a:prstGeom prst="rect">
            <a:avLst/>
          </a:prstGeom>
        </p:spPr>
        <p:txBody>
          <a:bodyPr/>
          <a:lstStyle>
            <a:lvl1pPr marL="0" marR="0" indent="0" algn="l" defTabSz="2438340" rtl="0" eaLnBrk="1" fontAlgn="auto" latinLnBrk="0" hangingPunct="1">
              <a:lnSpc>
                <a:spcPct val="90000"/>
              </a:lnSpc>
              <a:spcBef>
                <a:spcPct val="0"/>
              </a:spcBef>
              <a:spcAft>
                <a:spcPts val="0"/>
              </a:spcAft>
              <a:buClrTx/>
              <a:buSzTx/>
              <a:buFontTx/>
              <a:buNone/>
              <a:tabLst/>
              <a:defRPr lang="en-GB" sz="4800" b="1" dirty="0">
                <a:latin typeface="Campton Book" panose="00000800000000000000" pitchFamily="50" charset="0"/>
              </a:defRPr>
            </a:lvl1pPr>
          </a:lstStyle>
          <a:p>
            <a:pPr marL="0" marR="0" lvl="0" indent="0" algn="l" defTabSz="2438340" rtl="0" eaLnBrk="1" fontAlgn="auto" latinLnBrk="0" hangingPunct="1">
              <a:lnSpc>
                <a:spcPct val="90000"/>
              </a:lnSpc>
              <a:spcBef>
                <a:spcPct val="0"/>
              </a:spcBef>
              <a:spcAft>
                <a:spcPts val="0"/>
              </a:spcAft>
              <a:buClrTx/>
              <a:buSzTx/>
              <a:buFontTx/>
              <a:buNone/>
              <a:tabLst/>
              <a:defRPr/>
            </a:pPr>
            <a:r>
              <a:rPr lang="en-US" dirty="0"/>
              <a:t>Title</a:t>
            </a:r>
            <a:br>
              <a:rPr lang="en-US" dirty="0"/>
            </a:br>
            <a:endParaRPr lang="en-GB" dirty="0"/>
          </a:p>
        </p:txBody>
      </p:sp>
      <p:sp>
        <p:nvSpPr>
          <p:cNvPr id="16" name="Text Placeholder 15"/>
          <p:cNvSpPr>
            <a:spLocks noGrp="1"/>
          </p:cNvSpPr>
          <p:nvPr>
            <p:ph type="body" sz="quarter" idx="11" hasCustomPrompt="1"/>
          </p:nvPr>
        </p:nvSpPr>
        <p:spPr>
          <a:xfrm>
            <a:off x="1714501" y="10105015"/>
            <a:ext cx="6616702" cy="3263898"/>
          </a:xfrm>
          <a:prstGeom prst="rect">
            <a:avLst/>
          </a:prstGeom>
        </p:spPr>
        <p:txBody>
          <a:bodyPr/>
          <a:lstStyle>
            <a:lvl1pPr marL="761980" indent="-761980">
              <a:buFont typeface="Calibri" panose="020F0502020204030204" pitchFamily="34" charset="0"/>
              <a:buChar char="‒"/>
              <a:defRPr lang="en-US" sz="4266" dirty="0" smtClean="0">
                <a:latin typeface="Campton Light" panose="00000400000000000000" pitchFamily="50" charset="0"/>
              </a:defRPr>
            </a:lvl1pPr>
            <a:lvl2pPr>
              <a:defRPr sz="3734">
                <a:latin typeface="Campton Light" panose="00000400000000000000" pitchFamily="50" charset="0"/>
              </a:defRPr>
            </a:lvl2pPr>
            <a:lvl3pPr>
              <a:defRPr sz="3200">
                <a:latin typeface="Campton Light" panose="00000400000000000000" pitchFamily="50" charset="0"/>
              </a:defRPr>
            </a:lvl3pPr>
            <a:lvl4pPr>
              <a:defRPr sz="2934">
                <a:latin typeface="Campton Light" panose="00000400000000000000" pitchFamily="50" charset="0"/>
              </a:defRPr>
            </a:lvl4pPr>
            <a:lvl5pPr>
              <a:defRPr sz="2934">
                <a:latin typeface="Campton Light" panose="00000400000000000000" pitchFamily="50" charset="0"/>
              </a:defRPr>
            </a:lvl5pPr>
          </a:lstStyle>
          <a:p>
            <a:pPr lvl="0"/>
            <a:r>
              <a:rPr lang="en-US" dirty="0"/>
              <a:t>list2</a:t>
            </a:r>
          </a:p>
        </p:txBody>
      </p:sp>
      <p:sp>
        <p:nvSpPr>
          <p:cNvPr id="9" name="SmartArt Placeholder 2"/>
          <p:cNvSpPr>
            <a:spLocks noGrp="1"/>
          </p:cNvSpPr>
          <p:nvPr>
            <p:ph type="dgm" sz="quarter" idx="12" hasCustomPrompt="1"/>
          </p:nvPr>
        </p:nvSpPr>
        <p:spPr>
          <a:xfrm>
            <a:off x="2071136" y="2359725"/>
            <a:ext cx="2650752" cy="205678"/>
          </a:xfrm>
          <a:prstGeom prst="rect">
            <a:avLst/>
          </a:prstGeom>
          <a:solidFill>
            <a:schemeClr val="tx1"/>
          </a:solidFill>
        </p:spPr>
        <p:txBody>
          <a:bodyPr/>
          <a:lstStyle>
            <a:lvl1pPr marL="0" indent="0">
              <a:buNone/>
              <a:defRPr sz="2134" b="1"/>
            </a:lvl1pPr>
          </a:lstStyle>
          <a:p>
            <a:r>
              <a:rPr lang="nl-NL" dirty="0"/>
              <a:t> </a:t>
            </a:r>
          </a:p>
          <a:p>
            <a:endParaRPr lang="en-GB" dirty="0"/>
          </a:p>
        </p:txBody>
      </p:sp>
      <p:pic>
        <p:nvPicPr>
          <p:cNvPr id="10" name="Picture 9"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0608" y="601134"/>
            <a:ext cx="3531280" cy="660000"/>
          </a:xfrm>
          <a:prstGeom prst="rect">
            <a:avLst/>
          </a:prstGeom>
        </p:spPr>
      </p:pic>
      <p:sp>
        <p:nvSpPr>
          <p:cNvPr id="8" name="Title 13"/>
          <p:cNvSpPr txBox="1">
            <a:spLocks/>
          </p:cNvSpPr>
          <p:nvPr userDrawn="1"/>
        </p:nvSpPr>
        <p:spPr>
          <a:xfrm>
            <a:off x="1732107" y="9199323"/>
            <a:ext cx="2602830" cy="939558"/>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lang="en-GB" sz="2400" b="1" kern="1200" dirty="0">
                <a:solidFill>
                  <a:schemeClr val="tx1"/>
                </a:solidFill>
                <a:latin typeface="+mn-lt"/>
                <a:ea typeface="+mj-ea"/>
                <a:cs typeface="+mj-cs"/>
              </a:defRPr>
            </a:lvl1pPr>
          </a:lstStyle>
          <a:p>
            <a:r>
              <a:rPr lang="en-US" sz="4800" dirty="0">
                <a:latin typeface="Campton Book" panose="00000800000000000000" pitchFamily="50" charset="0"/>
              </a:rPr>
              <a:t>header</a:t>
            </a:r>
            <a:br>
              <a:rPr lang="en-US" sz="4800" dirty="0">
                <a:latin typeface="Campton Book" panose="00000800000000000000" pitchFamily="50" charset="0"/>
              </a:rPr>
            </a:br>
            <a:endParaRPr lang="en-US" sz="4800" dirty="0">
              <a:latin typeface="Campton Book" panose="00000800000000000000" pitchFamily="50" charset="0"/>
            </a:endParaRPr>
          </a:p>
        </p:txBody>
      </p:sp>
      <p:sp>
        <p:nvSpPr>
          <p:cNvPr id="11" name="Text Placeholder 15"/>
          <p:cNvSpPr>
            <a:spLocks noGrp="1"/>
          </p:cNvSpPr>
          <p:nvPr>
            <p:ph type="body" sz="quarter" idx="14" hasCustomPrompt="1"/>
          </p:nvPr>
        </p:nvSpPr>
        <p:spPr>
          <a:xfrm>
            <a:off x="1849966" y="4579231"/>
            <a:ext cx="8479368" cy="3771662"/>
          </a:xfrm>
          <a:prstGeom prst="rect">
            <a:avLst/>
          </a:prstGeom>
        </p:spPr>
        <p:txBody>
          <a:bodyPr/>
          <a:lstStyle>
            <a:lvl1pPr marL="0" indent="0">
              <a:buNone/>
              <a:defRPr lang="en-US" sz="4266" dirty="0" smtClean="0">
                <a:latin typeface="Campton Light" panose="00000400000000000000" pitchFamily="50" charset="0"/>
              </a:defRPr>
            </a:lvl1pPr>
            <a:lvl2pPr>
              <a:defRPr sz="3734">
                <a:latin typeface="Campton Light" panose="00000400000000000000" pitchFamily="50" charset="0"/>
              </a:defRPr>
            </a:lvl2pPr>
            <a:lvl3pPr>
              <a:defRPr sz="3200">
                <a:latin typeface="Campton Light" panose="00000400000000000000" pitchFamily="50" charset="0"/>
              </a:defRPr>
            </a:lvl3pPr>
            <a:lvl4pPr>
              <a:defRPr sz="2934">
                <a:latin typeface="Campton Light" panose="00000400000000000000" pitchFamily="50" charset="0"/>
              </a:defRPr>
            </a:lvl4pPr>
            <a:lvl5pPr>
              <a:defRPr sz="2934">
                <a:latin typeface="Campton Light" panose="00000400000000000000" pitchFamily="50" charset="0"/>
              </a:defRPr>
            </a:lvl5pPr>
          </a:lstStyle>
          <a:p>
            <a:pPr lvl="0"/>
            <a:r>
              <a:rPr lang="en-US" dirty="0"/>
              <a:t> → list1</a:t>
            </a:r>
          </a:p>
        </p:txBody>
      </p:sp>
      <p:sp>
        <p:nvSpPr>
          <p:cNvPr id="12" name="SmartArt Placeholder 2"/>
          <p:cNvSpPr>
            <a:spLocks noGrp="1"/>
          </p:cNvSpPr>
          <p:nvPr>
            <p:ph type="dgm" sz="quarter" idx="15" hasCustomPrompt="1"/>
          </p:nvPr>
        </p:nvSpPr>
        <p:spPr>
          <a:xfrm>
            <a:off x="1951194" y="8993647"/>
            <a:ext cx="1333872" cy="205678"/>
          </a:xfrm>
          <a:prstGeom prst="rect">
            <a:avLst/>
          </a:prstGeom>
          <a:solidFill>
            <a:schemeClr val="tx1"/>
          </a:solidFill>
        </p:spPr>
        <p:txBody>
          <a:bodyPr/>
          <a:lstStyle>
            <a:lvl1pPr marL="0" indent="0">
              <a:buNone/>
              <a:defRPr sz="2134" b="1"/>
            </a:lvl1pPr>
          </a:lstStyle>
          <a:p>
            <a:r>
              <a:rPr lang="nl-NL" dirty="0"/>
              <a:t> </a:t>
            </a:r>
          </a:p>
          <a:p>
            <a:endParaRPr lang="en-GB" dirty="0"/>
          </a:p>
        </p:txBody>
      </p:sp>
      <p:sp>
        <p:nvSpPr>
          <p:cNvPr id="13" name="Picture Placeholder 3"/>
          <p:cNvSpPr>
            <a:spLocks noGrp="1"/>
          </p:cNvSpPr>
          <p:nvPr>
            <p:ph type="pic" sz="quarter" idx="16" hasCustomPrompt="1"/>
          </p:nvPr>
        </p:nvSpPr>
        <p:spPr>
          <a:xfrm>
            <a:off x="12192000" y="0"/>
            <a:ext cx="12192000" cy="13716000"/>
          </a:xfrm>
          <a:prstGeom prst="rect">
            <a:avLst/>
          </a:prstGeom>
        </p:spPr>
        <p:txBody>
          <a:bodyPr/>
          <a:lstStyle>
            <a:lvl1pPr marL="0" indent="0">
              <a:buNone/>
              <a:defRPr/>
            </a:lvl1pPr>
          </a:lstStyle>
          <a:p>
            <a:r>
              <a:rPr lang="nl-NL" dirty="0"/>
              <a:t> </a:t>
            </a:r>
            <a:endParaRPr lang="en-GB" dirty="0"/>
          </a:p>
        </p:txBody>
      </p:sp>
    </p:spTree>
    <p:extLst>
      <p:ext uri="{BB962C8B-B14F-4D97-AF65-F5344CB8AC3E}">
        <p14:creationId xmlns:p14="http://schemas.microsoft.com/office/powerpoint/2010/main" val="23376999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Slide - 1">
    <p:spTree>
      <p:nvGrpSpPr>
        <p:cNvPr id="1" name=""/>
        <p:cNvGrpSpPr/>
        <p:nvPr/>
      </p:nvGrpSpPr>
      <p:grpSpPr>
        <a:xfrm>
          <a:off x="0" y="0"/>
          <a:ext cx="0" cy="0"/>
          <a:chOff x="0" y="0"/>
          <a:chExt cx="0" cy="0"/>
        </a:xfrm>
      </p:grpSpPr>
      <p:pic>
        <p:nvPicPr>
          <p:cNvPr id="22" name="Picture 21" descr="01DRIFT.jpg"/>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 y="0"/>
            <a:ext cx="24400934" cy="13716000"/>
          </a:xfrm>
          <a:prstGeom prst="rect">
            <a:avLst/>
          </a:prstGeom>
        </p:spPr>
      </p:pic>
      <p:sp>
        <p:nvSpPr>
          <p:cNvPr id="4" name="Rectangle 3"/>
          <p:cNvSpPr/>
          <p:nvPr userDrawn="1"/>
        </p:nvSpPr>
        <p:spPr>
          <a:xfrm>
            <a:off x="2071138" y="3531807"/>
            <a:ext cx="4097432" cy="229810"/>
          </a:xfrm>
          <a:prstGeom prst="rect">
            <a:avLst/>
          </a:prstGeom>
          <a:solidFill>
            <a:schemeClr val="bg1"/>
          </a:solidFill>
          <a:ln>
            <a:noFill/>
          </a:ln>
          <a:effectLst/>
        </p:spPr>
        <p:style>
          <a:lnRef idx="1">
            <a:schemeClr val="dk1"/>
          </a:lnRef>
          <a:fillRef idx="3">
            <a:schemeClr val="dk1"/>
          </a:fillRef>
          <a:effectRef idx="2">
            <a:schemeClr val="dk1"/>
          </a:effectRef>
          <a:fontRef idx="minor">
            <a:schemeClr val="lt1"/>
          </a:fontRef>
        </p:style>
        <p:txBody>
          <a:bodyPr/>
          <a:lstStyle/>
          <a:p>
            <a:endParaRPr lang="en-US" sz="4800">
              <a:solidFill>
                <a:schemeClr val="bg1"/>
              </a:solidFill>
            </a:endParaRPr>
          </a:p>
        </p:txBody>
      </p:sp>
      <p:sp>
        <p:nvSpPr>
          <p:cNvPr id="5" name="Rectangle 4"/>
          <p:cNvSpPr/>
          <p:nvPr userDrawn="1"/>
        </p:nvSpPr>
        <p:spPr>
          <a:xfrm>
            <a:off x="15243825" y="3531807"/>
            <a:ext cx="1958562" cy="229810"/>
          </a:xfrm>
          <a:prstGeom prst="rect">
            <a:avLst/>
          </a:prstGeom>
          <a:solidFill>
            <a:schemeClr val="bg1"/>
          </a:solidFill>
          <a:ln>
            <a:noFill/>
          </a:ln>
          <a:effectLst/>
        </p:spPr>
        <p:style>
          <a:lnRef idx="1">
            <a:schemeClr val="dk1"/>
          </a:lnRef>
          <a:fillRef idx="3">
            <a:schemeClr val="dk1"/>
          </a:fillRef>
          <a:effectRef idx="2">
            <a:schemeClr val="dk1"/>
          </a:effectRef>
          <a:fontRef idx="minor">
            <a:schemeClr val="lt1"/>
          </a:fontRef>
        </p:style>
        <p:txBody>
          <a:bodyPr/>
          <a:lstStyle/>
          <a:p>
            <a:endParaRPr lang="en-US" sz="4800">
              <a:solidFill>
                <a:schemeClr val="bg1"/>
              </a:solidFill>
            </a:endParaRPr>
          </a:p>
        </p:txBody>
      </p:sp>
      <p:sp>
        <p:nvSpPr>
          <p:cNvPr id="6" name="Rectangle 5"/>
          <p:cNvSpPr/>
          <p:nvPr userDrawn="1"/>
        </p:nvSpPr>
        <p:spPr>
          <a:xfrm>
            <a:off x="15167862" y="7549843"/>
            <a:ext cx="2621816" cy="229810"/>
          </a:xfrm>
          <a:prstGeom prst="rect">
            <a:avLst/>
          </a:prstGeom>
          <a:solidFill>
            <a:schemeClr val="bg1"/>
          </a:solidFill>
          <a:ln>
            <a:noFill/>
          </a:ln>
          <a:effectLst/>
        </p:spPr>
        <p:style>
          <a:lnRef idx="1">
            <a:schemeClr val="dk1"/>
          </a:lnRef>
          <a:fillRef idx="3">
            <a:schemeClr val="dk1"/>
          </a:fillRef>
          <a:effectRef idx="2">
            <a:schemeClr val="dk1"/>
          </a:effectRef>
          <a:fontRef idx="minor">
            <a:schemeClr val="lt1"/>
          </a:fontRef>
        </p:style>
        <p:txBody>
          <a:bodyPr/>
          <a:lstStyle/>
          <a:p>
            <a:endParaRPr lang="en-US" sz="4800">
              <a:solidFill>
                <a:schemeClr val="bg1"/>
              </a:solidFill>
            </a:endParaRPr>
          </a:p>
        </p:txBody>
      </p:sp>
      <p:pic>
        <p:nvPicPr>
          <p:cNvPr id="10" name="Picture 9" descr="drift-logo-horizontaal-wit.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71137" y="1179831"/>
            <a:ext cx="5735130" cy="1071902"/>
          </a:xfrm>
          <a:prstGeom prst="rect">
            <a:avLst/>
          </a:prstGeom>
        </p:spPr>
      </p:pic>
      <p:sp>
        <p:nvSpPr>
          <p:cNvPr id="17" name="Text Placeholder 11"/>
          <p:cNvSpPr>
            <a:spLocks noGrp="1"/>
          </p:cNvSpPr>
          <p:nvPr>
            <p:ph type="body" sz="quarter" idx="10" hasCustomPrompt="1"/>
          </p:nvPr>
        </p:nvSpPr>
        <p:spPr>
          <a:xfrm>
            <a:off x="1830810" y="3691467"/>
            <a:ext cx="10418232" cy="7509934"/>
          </a:xfrm>
          <a:prstGeom prst="rect">
            <a:avLst/>
          </a:prstGeom>
        </p:spPr>
        <p:txBody>
          <a:bodyPr/>
          <a:lstStyle>
            <a:lvl1pPr marL="0" indent="0">
              <a:buNone/>
              <a:defRPr sz="10134" b="1" baseline="0">
                <a:solidFill>
                  <a:schemeClr val="bg1"/>
                </a:solidFill>
                <a:latin typeface="Campton Book" panose="00000800000000000000" pitchFamily="50" charset="0"/>
              </a:defRPr>
            </a:lvl1pPr>
            <a:lvl2pPr marL="1219170" indent="0">
              <a:buNone/>
              <a:defRPr sz="8534">
                <a:solidFill>
                  <a:schemeClr val="bg1"/>
                </a:solidFill>
                <a:latin typeface="Campton Book" panose="00000800000000000000" pitchFamily="50" charset="0"/>
              </a:defRPr>
            </a:lvl2pPr>
            <a:lvl3pPr marL="2438340" indent="0">
              <a:buNone/>
              <a:defRPr sz="8534">
                <a:solidFill>
                  <a:schemeClr val="bg1"/>
                </a:solidFill>
                <a:latin typeface="Campton Book" panose="00000800000000000000" pitchFamily="50" charset="0"/>
              </a:defRPr>
            </a:lvl3pPr>
            <a:lvl4pPr marL="3657508" indent="0">
              <a:buNone/>
              <a:defRPr sz="8534">
                <a:solidFill>
                  <a:schemeClr val="bg1"/>
                </a:solidFill>
                <a:latin typeface="Campton Book" panose="00000800000000000000" pitchFamily="50" charset="0"/>
              </a:defRPr>
            </a:lvl4pPr>
            <a:lvl5pPr marL="4876678" indent="0">
              <a:buNone/>
              <a:defRPr sz="8534">
                <a:solidFill>
                  <a:schemeClr val="bg1"/>
                </a:solidFill>
                <a:latin typeface="Campton Book" panose="00000800000000000000" pitchFamily="50" charset="0"/>
              </a:defRPr>
            </a:lvl5pPr>
          </a:lstStyle>
          <a:p>
            <a:pPr lvl="0"/>
            <a:r>
              <a:rPr lang="en-US" dirty="0"/>
              <a:t>Click to enter title of presentation</a:t>
            </a:r>
          </a:p>
        </p:txBody>
      </p:sp>
      <p:sp>
        <p:nvSpPr>
          <p:cNvPr id="24" name="Text Placeholder 18"/>
          <p:cNvSpPr>
            <a:spLocks noGrp="1"/>
          </p:cNvSpPr>
          <p:nvPr>
            <p:ph type="body" sz="quarter" idx="13" hasCustomPrompt="1"/>
          </p:nvPr>
        </p:nvSpPr>
        <p:spPr>
          <a:xfrm>
            <a:off x="14907621" y="8655569"/>
            <a:ext cx="6902514" cy="1985202"/>
          </a:xfrm>
          <a:prstGeom prst="rect">
            <a:avLst/>
          </a:prstGeom>
        </p:spPr>
        <p:txBody>
          <a:bodyPr/>
          <a:lstStyle>
            <a:lvl1pPr marL="0" indent="0">
              <a:buNone/>
              <a:defRPr lang="en-US" sz="3200" kern="1200" baseline="0" dirty="0" smtClean="0">
                <a:solidFill>
                  <a:schemeClr val="bg1"/>
                </a:solidFill>
                <a:latin typeface="Campton Light" panose="00000400000000000000" pitchFamily="50" charset="0"/>
                <a:ea typeface="+mn-ea"/>
                <a:cs typeface="Campton Light" panose="00000400000000000000" pitchFamily="50" charset="0"/>
              </a:defRPr>
            </a:lvl1pPr>
          </a:lstStyle>
          <a:p>
            <a:pPr lvl="0"/>
            <a:r>
              <a:rPr lang="en-US" dirty="0"/>
              <a:t>20th march 2017</a:t>
            </a:r>
          </a:p>
          <a:p>
            <a:pPr lvl="0"/>
            <a:r>
              <a:rPr lang="en-US" dirty="0"/>
              <a:t>London, UK</a:t>
            </a:r>
          </a:p>
        </p:txBody>
      </p:sp>
      <p:sp>
        <p:nvSpPr>
          <p:cNvPr id="13" name="Text Placeholder 18"/>
          <p:cNvSpPr>
            <a:spLocks noGrp="1"/>
          </p:cNvSpPr>
          <p:nvPr>
            <p:ph type="body" sz="quarter" idx="14" hasCustomPrompt="1"/>
          </p:nvPr>
        </p:nvSpPr>
        <p:spPr>
          <a:xfrm>
            <a:off x="14886414" y="7804185"/>
            <a:ext cx="6923720" cy="923954"/>
          </a:xfrm>
          <a:prstGeom prst="rect">
            <a:avLst/>
          </a:prstGeom>
        </p:spPr>
        <p:txBody>
          <a:bodyPr/>
          <a:lstStyle>
            <a:lvl1pPr marL="0" indent="0">
              <a:buNone/>
              <a:defRPr lang="en-US" sz="4266" b="1" kern="1200" baseline="0" dirty="0" smtClean="0">
                <a:solidFill>
                  <a:schemeClr val="bg1"/>
                </a:solidFill>
                <a:latin typeface="Campton Book" panose="00000800000000000000" pitchFamily="50" charset="0"/>
                <a:ea typeface="+mn-ea"/>
                <a:cs typeface="Campton Book" panose="00000800000000000000" pitchFamily="50" charset="0"/>
              </a:defRPr>
            </a:lvl1pPr>
          </a:lstStyle>
          <a:p>
            <a:pPr lvl="0"/>
            <a:r>
              <a:rPr lang="en-US" dirty="0"/>
              <a:t>date / location</a:t>
            </a:r>
          </a:p>
        </p:txBody>
      </p:sp>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8542005" y="10200017"/>
            <a:ext cx="5858930" cy="3515986"/>
          </a:xfrm>
          <a:prstGeom prst="rect">
            <a:avLst/>
          </a:prstGeom>
        </p:spPr>
      </p:pic>
      <p:sp>
        <p:nvSpPr>
          <p:cNvPr id="14" name="Text Placeholder 18"/>
          <p:cNvSpPr>
            <a:spLocks noGrp="1"/>
          </p:cNvSpPr>
          <p:nvPr>
            <p:ph type="body" sz="quarter" idx="11" hasCustomPrompt="1"/>
          </p:nvPr>
        </p:nvSpPr>
        <p:spPr>
          <a:xfrm>
            <a:off x="14981547" y="3819317"/>
            <a:ext cx="6828590" cy="3156250"/>
          </a:xfrm>
          <a:prstGeom prst="rect">
            <a:avLst/>
          </a:prstGeom>
        </p:spPr>
        <p:txBody>
          <a:bodyPr/>
          <a:lstStyle>
            <a:lvl1pPr marL="0" indent="0">
              <a:buNone/>
              <a:defRPr lang="en-US" sz="4266" b="1" kern="1200" baseline="0" dirty="0" smtClean="0">
                <a:solidFill>
                  <a:schemeClr val="bg1"/>
                </a:solidFill>
                <a:latin typeface="Campton Book" panose="00000800000000000000" pitchFamily="50" charset="0"/>
                <a:ea typeface="+mn-ea"/>
                <a:cs typeface="Campton Book" panose="00000800000000000000" pitchFamily="50" charset="0"/>
              </a:defRPr>
            </a:lvl1pPr>
          </a:lstStyle>
          <a:p>
            <a:pPr lvl="0"/>
            <a:r>
              <a:rPr lang="en-US" dirty="0"/>
              <a:t>Name (bold)</a:t>
            </a:r>
          </a:p>
        </p:txBody>
      </p:sp>
    </p:spTree>
    <p:extLst>
      <p:ext uri="{BB962C8B-B14F-4D97-AF65-F5344CB8AC3E}">
        <p14:creationId xmlns:p14="http://schemas.microsoft.com/office/powerpoint/2010/main" val="16346153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F71CB86-6495-49A5-A6AF-A91CDDE65B8C}" type="datetimeFigureOut">
              <a:rPr lang="nl-NL" smtClean="0"/>
              <a:t>13-6-2023</a:t>
            </a:fld>
            <a:endParaRPr lang="nl-NL"/>
          </a:p>
        </p:txBody>
      </p:sp>
      <p:sp>
        <p:nvSpPr>
          <p:cNvPr id="3" name="Footer Placeholder 2"/>
          <p:cNvSpPr>
            <a:spLocks noGrp="1"/>
          </p:cNvSpPr>
          <p:nvPr>
            <p:ph type="ftr" sz="quarter" idx="11"/>
          </p:nvPr>
        </p:nvSpPr>
        <p:spPr/>
        <p:txBody>
          <a:bodyPr/>
          <a:lstStyle/>
          <a:p>
            <a:endParaRPr lang="nl-NL"/>
          </a:p>
        </p:txBody>
      </p:sp>
      <p:sp>
        <p:nvSpPr>
          <p:cNvPr id="4" name="Slide Number Placeholder 3"/>
          <p:cNvSpPr>
            <a:spLocks noGrp="1"/>
          </p:cNvSpPr>
          <p:nvPr>
            <p:ph type="sldNum" sz="quarter" idx="12"/>
          </p:nvPr>
        </p:nvSpPr>
        <p:spPr/>
        <p:txBody>
          <a:bodyPr/>
          <a:lstStyle/>
          <a:p>
            <a:fld id="{6D39E14A-1761-4826-82EA-98CC52DE60CF}" type="slidenum">
              <a:rPr lang="nl-NL" smtClean="0"/>
              <a:t>‹nr.›</a:t>
            </a:fld>
            <a:endParaRPr lang="nl-NL"/>
          </a:p>
        </p:txBody>
      </p:sp>
    </p:spTree>
    <p:extLst>
      <p:ext uri="{BB962C8B-B14F-4D97-AF65-F5344CB8AC3E}">
        <p14:creationId xmlns:p14="http://schemas.microsoft.com/office/powerpoint/2010/main" val="1489741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 Lichtgroen met afbeelding">
    <p:bg>
      <p:bgPr>
        <a:solidFill>
          <a:schemeClr val="accent3"/>
        </a:solidFill>
        <a:effectLst/>
      </p:bgPr>
    </p:bg>
    <p:spTree>
      <p:nvGrpSpPr>
        <p:cNvPr id="1" name=""/>
        <p:cNvGrpSpPr/>
        <p:nvPr/>
      </p:nvGrpSpPr>
      <p:grpSpPr>
        <a:xfrm>
          <a:off x="0" y="0"/>
          <a:ext cx="0" cy="0"/>
          <a:chOff x="0" y="0"/>
          <a:chExt cx="0" cy="0"/>
        </a:xfrm>
      </p:grpSpPr>
      <p:sp>
        <p:nvSpPr>
          <p:cNvPr id="11" name="Auteur en datum"/>
          <p:cNvSpPr txBox="1">
            <a:spLocks noGrp="1"/>
          </p:cNvSpPr>
          <p:nvPr>
            <p:ph type="body" sz="quarter" idx="21" hasCustomPrompt="1"/>
          </p:nvPr>
        </p:nvSpPr>
        <p:spPr>
          <a:xfrm>
            <a:off x="2459736" y="10633820"/>
            <a:ext cx="10506457" cy="713231"/>
          </a:xfrm>
          <a:prstGeom prst="rect">
            <a:avLst/>
          </a:prstGeom>
        </p:spPr>
        <p:txBody>
          <a:bodyPr lIns="216000" tIns="45719" rIns="45719" bIns="45719" anchor="b">
            <a:noAutofit/>
          </a:bodyPr>
          <a:lstStyle>
            <a:lvl1pPr marL="0" indent="0" defTabSz="825500">
              <a:lnSpc>
                <a:spcPct val="100000"/>
              </a:lnSpc>
              <a:spcBef>
                <a:spcPts val="0"/>
              </a:spcBef>
              <a:buSzTx/>
              <a:buNone/>
              <a:defRPr sz="4000" b="0">
                <a:latin typeface="+mn-lt"/>
              </a:defRPr>
            </a:lvl1pPr>
          </a:lstStyle>
          <a:p>
            <a:r>
              <a:rPr lang="nl-NL"/>
              <a:t>Auteurs</a:t>
            </a:r>
            <a:endParaRPr/>
          </a:p>
        </p:txBody>
      </p:sp>
      <p:sp>
        <p:nvSpPr>
          <p:cNvPr id="12" name="Naam presentatie"/>
          <p:cNvSpPr txBox="1">
            <a:spLocks noGrp="1"/>
          </p:cNvSpPr>
          <p:nvPr>
            <p:ph type="title" hasCustomPrompt="1"/>
          </p:nvPr>
        </p:nvSpPr>
        <p:spPr>
          <a:xfrm>
            <a:off x="2505457" y="6629400"/>
            <a:ext cx="10460736" cy="3611150"/>
          </a:xfrm>
          <a:prstGeom prst="rect">
            <a:avLst/>
          </a:prstGeom>
        </p:spPr>
        <p:txBody>
          <a:bodyPr lIns="144000" anchor="t">
            <a:noAutofit/>
          </a:bodyPr>
          <a:lstStyle>
            <a:lvl1pPr>
              <a:defRPr sz="12000" b="0" spc="0" baseline="0">
                <a:latin typeface="+mj-lt"/>
              </a:defRPr>
            </a:lvl1pPr>
          </a:lstStyle>
          <a:p>
            <a:r>
              <a:rPr lang="nl-NL"/>
              <a:t>Titel</a:t>
            </a:r>
            <a:endParaRPr/>
          </a:p>
        </p:txBody>
      </p:sp>
      <p:sp>
        <p:nvSpPr>
          <p:cNvPr id="13" name="Hoofdtekst - niveau één…"/>
          <p:cNvSpPr txBox="1">
            <a:spLocks noGrp="1"/>
          </p:cNvSpPr>
          <p:nvPr>
            <p:ph type="body" sz="quarter" idx="1" hasCustomPrompt="1"/>
          </p:nvPr>
        </p:nvSpPr>
        <p:spPr>
          <a:xfrm>
            <a:off x="2496313" y="2569464"/>
            <a:ext cx="10469879" cy="4059936"/>
          </a:xfrm>
          <a:prstGeom prst="rect">
            <a:avLst/>
          </a:prstGeom>
        </p:spPr>
        <p:txBody>
          <a:bodyPr lIns="108000" bIns="0" anchor="b">
            <a:noAutofit/>
          </a:bodyPr>
          <a:lstStyle>
            <a:lvl1pPr marL="0" indent="0" defTabSz="825500">
              <a:lnSpc>
                <a:spcPct val="100000"/>
              </a:lnSpc>
              <a:spcBef>
                <a:spcPts val="0"/>
              </a:spcBef>
              <a:buSzTx/>
              <a:buNone/>
              <a:defRPr sz="12200" b="0" spc="110" baseline="0"/>
            </a:lvl1pPr>
            <a:lvl2pPr marL="0" indent="0" defTabSz="825500">
              <a:lnSpc>
                <a:spcPct val="100000"/>
              </a:lnSpc>
              <a:spcBef>
                <a:spcPts val="0"/>
              </a:spcBef>
              <a:buSzTx/>
              <a:buNone/>
              <a:defRPr sz="5500" b="1"/>
            </a:lvl2pPr>
            <a:lvl3pPr marL="0" indent="0" defTabSz="825500">
              <a:lnSpc>
                <a:spcPct val="100000"/>
              </a:lnSpc>
              <a:spcBef>
                <a:spcPts val="0"/>
              </a:spcBef>
              <a:buSzTx/>
              <a:buNone/>
              <a:defRPr sz="5500" b="1"/>
            </a:lvl3pPr>
            <a:lvl4pPr marL="0" indent="0" defTabSz="825500">
              <a:lnSpc>
                <a:spcPct val="100000"/>
              </a:lnSpc>
              <a:spcBef>
                <a:spcPts val="0"/>
              </a:spcBef>
              <a:buSzTx/>
              <a:buNone/>
              <a:defRPr sz="5500" b="1"/>
            </a:lvl4pPr>
            <a:lvl5pPr marL="0" indent="0" defTabSz="825500">
              <a:lnSpc>
                <a:spcPct val="100000"/>
              </a:lnSpc>
              <a:spcBef>
                <a:spcPts val="0"/>
              </a:spcBef>
              <a:buSzTx/>
              <a:buNone/>
              <a:defRPr sz="5500" b="1"/>
            </a:lvl5pPr>
          </a:lstStyle>
          <a:p>
            <a:r>
              <a:rPr lang="nl-NL"/>
              <a:t>Subtitel</a:t>
            </a:r>
          </a:p>
        </p:txBody>
      </p:sp>
      <p:sp>
        <p:nvSpPr>
          <p:cNvPr id="9" name="Tijdelijke aanduiding voor datum 4">
            <a:extLst>
              <a:ext uri="{FF2B5EF4-FFF2-40B4-BE49-F238E27FC236}">
                <a16:creationId xmlns:a16="http://schemas.microsoft.com/office/drawing/2014/main" id="{1AB02A12-0190-465E-B00A-B91F85BC46FC}"/>
              </a:ext>
            </a:extLst>
          </p:cNvPr>
          <p:cNvSpPr>
            <a:spLocks noGrp="1"/>
          </p:cNvSpPr>
          <p:nvPr>
            <p:ph type="dt" sz="half" idx="22"/>
          </p:nvPr>
        </p:nvSpPr>
        <p:spPr>
          <a:xfrm>
            <a:off x="2459736" y="11367879"/>
            <a:ext cx="10506457" cy="730250"/>
          </a:xfrm>
          <a:prstGeom prst="rect">
            <a:avLst/>
          </a:prstGeom>
        </p:spPr>
        <p:txBody>
          <a:bodyPr vert="horz" lIns="180000" tIns="45720" rIns="91440" bIns="45720" rtlCol="0" anchor="ctr"/>
          <a:lstStyle>
            <a:lvl1pPr algn="l">
              <a:defRPr sz="3200">
                <a:solidFill>
                  <a:schemeClr val="tx1"/>
                </a:solidFill>
              </a:defRPr>
            </a:lvl1pPr>
          </a:lstStyle>
          <a:p>
            <a:fld id="{B150532B-FCF9-426A-ADF2-F182BD70000C}" type="datetime4">
              <a:rPr lang="nl-NL" smtClean="0"/>
              <a:t>13 juni 2023</a:t>
            </a:fld>
            <a:endParaRPr lang="nl-NL"/>
          </a:p>
        </p:txBody>
      </p:sp>
      <p:sp>
        <p:nvSpPr>
          <p:cNvPr id="10" name="Dianummer">
            <a:extLst>
              <a:ext uri="{FF2B5EF4-FFF2-40B4-BE49-F238E27FC236}">
                <a16:creationId xmlns:a16="http://schemas.microsoft.com/office/drawing/2014/main" id="{869DACE5-1BFD-404D-92ED-AAFC9B1C2565}"/>
              </a:ext>
            </a:extLst>
          </p:cNvPr>
          <p:cNvSpPr txBox="1">
            <a:spLocks noGrp="1"/>
          </p:cNvSpPr>
          <p:nvPr>
            <p:ph type="sldNum" sz="quarter" idx="2"/>
          </p:nvPr>
        </p:nvSpPr>
        <p:spPr>
          <a:xfrm>
            <a:off x="23177500" y="13749162"/>
            <a:ext cx="811276" cy="441146"/>
          </a:xfrm>
          <a:prstGeom prst="rect">
            <a:avLst/>
          </a:prstGeom>
          <a:ln w="12700">
            <a:miter lim="400000"/>
          </a:ln>
        </p:spPr>
        <p:txBody>
          <a:bodyPr wrap="square" lIns="50800" tIns="50800" rIns="50800" bIns="50800" anchor="b">
            <a:spAutoFit/>
          </a:bodyPr>
          <a:lstStyle>
            <a:lvl1pPr algn="r" defTabSz="584200">
              <a:lnSpc>
                <a:spcPct val="100000"/>
              </a:lnSpc>
              <a:spcBef>
                <a:spcPts val="0"/>
              </a:spcBef>
              <a:defRPr sz="2200">
                <a:solidFill>
                  <a:schemeClr val="tx1"/>
                </a:solidFill>
                <a:latin typeface="+mn-lt"/>
                <a:ea typeface="Source Sans Pro" panose="020B0503030403020204" pitchFamily="34" charset="0"/>
              </a:defRPr>
            </a:lvl1pPr>
          </a:lstStyle>
          <a:p>
            <a:fld id="{86CB4B4D-7CA3-9044-876B-883B54F8677D}" type="slidenum">
              <a:rPr lang="nl-NL" smtClean="0"/>
              <a:pPr/>
              <a:t>‹nr.›</a:t>
            </a:fld>
            <a:endParaRPr lang="nl-NL"/>
          </a:p>
        </p:txBody>
      </p:sp>
      <p:sp>
        <p:nvSpPr>
          <p:cNvPr id="5" name="Tijdelijke aanduiding voor afbeelding 4">
            <a:extLst>
              <a:ext uri="{FF2B5EF4-FFF2-40B4-BE49-F238E27FC236}">
                <a16:creationId xmlns:a16="http://schemas.microsoft.com/office/drawing/2014/main" id="{3CA36E5E-48C5-43E7-AF37-D5B5524CA835}"/>
              </a:ext>
            </a:extLst>
          </p:cNvPr>
          <p:cNvSpPr>
            <a:spLocks noGrp="1"/>
          </p:cNvSpPr>
          <p:nvPr>
            <p:ph type="pic" sz="quarter" idx="23" hasCustomPrompt="1"/>
          </p:nvPr>
        </p:nvSpPr>
        <p:spPr>
          <a:xfrm>
            <a:off x="13295376" y="1961122"/>
            <a:ext cx="10076688" cy="10063238"/>
          </a:xfrm>
          <a:prstGeom prst="round2DiagRect">
            <a:avLst>
              <a:gd name="adj1" fmla="val 44290"/>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pic>
        <p:nvPicPr>
          <p:cNvPr id="14" name="Graphic 13">
            <a:extLst>
              <a:ext uri="{FF2B5EF4-FFF2-40B4-BE49-F238E27FC236}">
                <a16:creationId xmlns:a16="http://schemas.microsoft.com/office/drawing/2014/main" id="{B9348248-1F82-49AA-AB3B-0384FAFC330D}"/>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67010" y="413369"/>
            <a:ext cx="2165251" cy="2165251"/>
          </a:xfrm>
          <a:prstGeom prst="rect">
            <a:avLst/>
          </a:prstGeom>
        </p:spPr>
      </p:pic>
    </p:spTree>
    <p:extLst>
      <p:ext uri="{BB962C8B-B14F-4D97-AF65-F5344CB8AC3E}">
        <p14:creationId xmlns:p14="http://schemas.microsoft.com/office/powerpoint/2010/main" val="3298508464"/>
      </p:ext>
    </p:extLst>
  </p:cSld>
  <p:clrMapOvr>
    <a:masterClrMapping/>
  </p:clrMapOvr>
  <p:transition spd="med"/>
  <p:hf sldNum="0" hdr="0" ftr="0"/>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Vertical Title a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93880519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Image - caption">
    <p:spTree>
      <p:nvGrpSpPr>
        <p:cNvPr id="1" name=""/>
        <p:cNvGrpSpPr/>
        <p:nvPr/>
      </p:nvGrpSpPr>
      <p:grpSpPr>
        <a:xfrm>
          <a:off x="0" y="0"/>
          <a:ext cx="0" cy="0"/>
          <a:chOff x="0" y="0"/>
          <a:chExt cx="0" cy="0"/>
        </a:xfrm>
      </p:grpSpPr>
      <p:sp>
        <p:nvSpPr>
          <p:cNvPr id="3" name="Picture Placeholder 2"/>
          <p:cNvSpPr>
            <a:spLocks noGrp="1"/>
          </p:cNvSpPr>
          <p:nvPr>
            <p:ph type="pic" sz="quarter" idx="13" hasCustomPrompt="1"/>
          </p:nvPr>
        </p:nvSpPr>
        <p:spPr>
          <a:xfrm>
            <a:off x="-1" y="2235200"/>
            <a:ext cx="24384002" cy="11480800"/>
          </a:xfrm>
          <a:prstGeom prst="rect">
            <a:avLst/>
          </a:prstGeom>
          <a:noFill/>
        </p:spPr>
        <p:txBody>
          <a:bodyPr/>
          <a:lstStyle>
            <a:lvl1pPr marL="0" indent="0">
              <a:buNone/>
              <a:defRPr/>
            </a:lvl1pPr>
          </a:lstStyle>
          <a:p>
            <a:r>
              <a:rPr lang="nl-NL" dirty="0"/>
              <a:t> </a:t>
            </a:r>
            <a:endParaRPr lang="en-GB" dirty="0"/>
          </a:p>
        </p:txBody>
      </p:sp>
      <p:pic>
        <p:nvPicPr>
          <p:cNvPr id="27" name="Picture 26" descr="drift-logo-horizontaal-wit.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9003" y="711617"/>
            <a:ext cx="4803798" cy="897834"/>
          </a:xfrm>
          <a:prstGeom prst="rect">
            <a:avLst/>
          </a:prstGeom>
        </p:spPr>
      </p:pic>
      <p:sp>
        <p:nvSpPr>
          <p:cNvPr id="5" name="Title 13"/>
          <p:cNvSpPr>
            <a:spLocks noGrp="1"/>
          </p:cNvSpPr>
          <p:nvPr>
            <p:ph type="title" hasCustomPrompt="1"/>
          </p:nvPr>
        </p:nvSpPr>
        <p:spPr>
          <a:xfrm>
            <a:off x="6523199" y="711204"/>
            <a:ext cx="15949758" cy="898248"/>
          </a:xfrm>
          <a:prstGeom prst="rect">
            <a:avLst/>
          </a:prstGeom>
        </p:spPr>
        <p:txBody>
          <a:bodyPr/>
          <a:lstStyle>
            <a:lvl1pPr>
              <a:defRPr sz="6134" b="1">
                <a:latin typeface="+mn-lt"/>
              </a:defRPr>
            </a:lvl1pPr>
          </a:lstStyle>
          <a:p>
            <a:r>
              <a:rPr lang="en-US" dirty="0"/>
              <a:t>Click to edit caption</a:t>
            </a:r>
            <a:endParaRPr lang="en-GB" dirty="0"/>
          </a:p>
        </p:txBody>
      </p:sp>
      <p:pic>
        <p:nvPicPr>
          <p:cNvPr id="7" name="Picture 6" descr="drift-logo-horizontaal.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9007" y="690276"/>
            <a:ext cx="4398430" cy="822072"/>
          </a:xfrm>
          <a:prstGeom prst="rect">
            <a:avLst/>
          </a:prstGeom>
        </p:spPr>
      </p:pic>
    </p:spTree>
    <p:extLst>
      <p:ext uri="{BB962C8B-B14F-4D97-AF65-F5344CB8AC3E}">
        <p14:creationId xmlns:p14="http://schemas.microsoft.com/office/powerpoint/2010/main" val="23307184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 Donkergroen met afbeelding">
    <p:bg>
      <p:bgPr>
        <a:solidFill>
          <a:schemeClr val="accent1"/>
        </a:solidFill>
        <a:effectLst/>
      </p:bgPr>
    </p:bg>
    <p:spTree>
      <p:nvGrpSpPr>
        <p:cNvPr id="1" name=""/>
        <p:cNvGrpSpPr/>
        <p:nvPr/>
      </p:nvGrpSpPr>
      <p:grpSpPr>
        <a:xfrm>
          <a:off x="0" y="0"/>
          <a:ext cx="0" cy="0"/>
          <a:chOff x="0" y="0"/>
          <a:chExt cx="0" cy="0"/>
        </a:xfrm>
      </p:grpSpPr>
      <p:sp>
        <p:nvSpPr>
          <p:cNvPr id="11" name="Auteur en datum"/>
          <p:cNvSpPr txBox="1">
            <a:spLocks noGrp="1"/>
          </p:cNvSpPr>
          <p:nvPr>
            <p:ph type="body" sz="quarter" idx="21" hasCustomPrompt="1"/>
          </p:nvPr>
        </p:nvSpPr>
        <p:spPr>
          <a:xfrm>
            <a:off x="2459736" y="10633820"/>
            <a:ext cx="10506457" cy="713231"/>
          </a:xfrm>
          <a:prstGeom prst="rect">
            <a:avLst/>
          </a:prstGeom>
        </p:spPr>
        <p:txBody>
          <a:bodyPr lIns="216000" tIns="45719" rIns="45719" bIns="45719" anchor="b">
            <a:noAutofit/>
          </a:bodyPr>
          <a:lstStyle>
            <a:lvl1pPr marL="0" indent="0" defTabSz="825500">
              <a:lnSpc>
                <a:spcPct val="100000"/>
              </a:lnSpc>
              <a:spcBef>
                <a:spcPts val="0"/>
              </a:spcBef>
              <a:buSzTx/>
              <a:buNone/>
              <a:defRPr sz="4000" b="0">
                <a:solidFill>
                  <a:schemeClr val="bg1"/>
                </a:solidFill>
                <a:latin typeface="+mn-lt"/>
              </a:defRPr>
            </a:lvl1pPr>
          </a:lstStyle>
          <a:p>
            <a:r>
              <a:rPr lang="nl-NL"/>
              <a:t>Auteurs</a:t>
            </a:r>
            <a:endParaRPr/>
          </a:p>
        </p:txBody>
      </p:sp>
      <p:sp>
        <p:nvSpPr>
          <p:cNvPr id="12" name="Naam presentatie"/>
          <p:cNvSpPr txBox="1">
            <a:spLocks noGrp="1"/>
          </p:cNvSpPr>
          <p:nvPr>
            <p:ph type="title" hasCustomPrompt="1"/>
          </p:nvPr>
        </p:nvSpPr>
        <p:spPr>
          <a:xfrm>
            <a:off x="2505457" y="6629400"/>
            <a:ext cx="10460736" cy="3611150"/>
          </a:xfrm>
          <a:prstGeom prst="rect">
            <a:avLst/>
          </a:prstGeom>
        </p:spPr>
        <p:txBody>
          <a:bodyPr lIns="144000" anchor="t">
            <a:noAutofit/>
          </a:bodyPr>
          <a:lstStyle>
            <a:lvl1pPr>
              <a:defRPr sz="12000" b="0" spc="0" baseline="0">
                <a:solidFill>
                  <a:schemeClr val="bg1"/>
                </a:solidFill>
                <a:latin typeface="+mj-lt"/>
              </a:defRPr>
            </a:lvl1pPr>
          </a:lstStyle>
          <a:p>
            <a:r>
              <a:rPr lang="nl-NL"/>
              <a:t>Titel</a:t>
            </a:r>
            <a:endParaRPr/>
          </a:p>
        </p:txBody>
      </p:sp>
      <p:sp>
        <p:nvSpPr>
          <p:cNvPr id="13" name="Hoofdtekst - niveau één…"/>
          <p:cNvSpPr txBox="1">
            <a:spLocks noGrp="1"/>
          </p:cNvSpPr>
          <p:nvPr>
            <p:ph type="body" sz="quarter" idx="1" hasCustomPrompt="1"/>
          </p:nvPr>
        </p:nvSpPr>
        <p:spPr>
          <a:xfrm>
            <a:off x="2496313" y="2569464"/>
            <a:ext cx="10469879" cy="4059936"/>
          </a:xfrm>
          <a:prstGeom prst="rect">
            <a:avLst/>
          </a:prstGeom>
        </p:spPr>
        <p:txBody>
          <a:bodyPr lIns="108000" bIns="0" anchor="b">
            <a:noAutofit/>
          </a:bodyPr>
          <a:lstStyle>
            <a:lvl1pPr marL="0" indent="0" defTabSz="825500">
              <a:lnSpc>
                <a:spcPct val="100000"/>
              </a:lnSpc>
              <a:spcBef>
                <a:spcPts val="0"/>
              </a:spcBef>
              <a:buSzTx/>
              <a:buNone/>
              <a:defRPr sz="12200" b="0" spc="110" baseline="0">
                <a:solidFill>
                  <a:schemeClr val="bg1"/>
                </a:solidFill>
              </a:defRPr>
            </a:lvl1pPr>
            <a:lvl2pPr marL="0" indent="0" defTabSz="825500">
              <a:lnSpc>
                <a:spcPct val="100000"/>
              </a:lnSpc>
              <a:spcBef>
                <a:spcPts val="0"/>
              </a:spcBef>
              <a:buSzTx/>
              <a:buNone/>
              <a:defRPr sz="5500" b="1"/>
            </a:lvl2pPr>
            <a:lvl3pPr marL="0" indent="0" defTabSz="825500">
              <a:lnSpc>
                <a:spcPct val="100000"/>
              </a:lnSpc>
              <a:spcBef>
                <a:spcPts val="0"/>
              </a:spcBef>
              <a:buSzTx/>
              <a:buNone/>
              <a:defRPr sz="5500" b="1"/>
            </a:lvl3pPr>
            <a:lvl4pPr marL="0" indent="0" defTabSz="825500">
              <a:lnSpc>
                <a:spcPct val="100000"/>
              </a:lnSpc>
              <a:spcBef>
                <a:spcPts val="0"/>
              </a:spcBef>
              <a:buSzTx/>
              <a:buNone/>
              <a:defRPr sz="5500" b="1"/>
            </a:lvl4pPr>
            <a:lvl5pPr marL="0" indent="0" defTabSz="825500">
              <a:lnSpc>
                <a:spcPct val="100000"/>
              </a:lnSpc>
              <a:spcBef>
                <a:spcPts val="0"/>
              </a:spcBef>
              <a:buSzTx/>
              <a:buNone/>
              <a:defRPr sz="5500" b="1"/>
            </a:lvl5pPr>
          </a:lstStyle>
          <a:p>
            <a:r>
              <a:rPr lang="nl-NL"/>
              <a:t>Subtitel</a:t>
            </a:r>
            <a:endParaRPr/>
          </a:p>
        </p:txBody>
      </p:sp>
      <p:sp>
        <p:nvSpPr>
          <p:cNvPr id="9" name="Tijdelijke aanduiding voor datum 4">
            <a:extLst>
              <a:ext uri="{FF2B5EF4-FFF2-40B4-BE49-F238E27FC236}">
                <a16:creationId xmlns:a16="http://schemas.microsoft.com/office/drawing/2014/main" id="{1AB02A12-0190-465E-B00A-B91F85BC46FC}"/>
              </a:ext>
            </a:extLst>
          </p:cNvPr>
          <p:cNvSpPr>
            <a:spLocks noGrp="1"/>
          </p:cNvSpPr>
          <p:nvPr>
            <p:ph type="dt" sz="half" idx="22"/>
          </p:nvPr>
        </p:nvSpPr>
        <p:spPr>
          <a:xfrm>
            <a:off x="2459736" y="11367879"/>
            <a:ext cx="10506457" cy="730250"/>
          </a:xfrm>
          <a:prstGeom prst="rect">
            <a:avLst/>
          </a:prstGeom>
        </p:spPr>
        <p:txBody>
          <a:bodyPr vert="horz" lIns="180000" tIns="45720" rIns="91440" bIns="45720" rtlCol="0" anchor="ctr"/>
          <a:lstStyle>
            <a:lvl1pPr algn="l">
              <a:defRPr sz="3200">
                <a:solidFill>
                  <a:schemeClr val="bg1"/>
                </a:solidFill>
              </a:defRPr>
            </a:lvl1pPr>
          </a:lstStyle>
          <a:p>
            <a:fld id="{B150532B-FCF9-426A-ADF2-F182BD70000C}" type="datetime4">
              <a:rPr lang="nl-NL" smtClean="0"/>
              <a:pPr/>
              <a:t>13 juni 2023</a:t>
            </a:fld>
            <a:endParaRPr lang="nl-NL"/>
          </a:p>
        </p:txBody>
      </p:sp>
      <p:sp>
        <p:nvSpPr>
          <p:cNvPr id="10" name="Dianummer">
            <a:extLst>
              <a:ext uri="{FF2B5EF4-FFF2-40B4-BE49-F238E27FC236}">
                <a16:creationId xmlns:a16="http://schemas.microsoft.com/office/drawing/2014/main" id="{869DACE5-1BFD-404D-92ED-AAFC9B1C2565}"/>
              </a:ext>
            </a:extLst>
          </p:cNvPr>
          <p:cNvSpPr txBox="1">
            <a:spLocks noGrp="1"/>
          </p:cNvSpPr>
          <p:nvPr>
            <p:ph type="sldNum" sz="quarter" idx="2"/>
          </p:nvPr>
        </p:nvSpPr>
        <p:spPr>
          <a:xfrm>
            <a:off x="23177500" y="13749162"/>
            <a:ext cx="811276" cy="441146"/>
          </a:xfrm>
          <a:prstGeom prst="rect">
            <a:avLst/>
          </a:prstGeom>
          <a:ln w="12700">
            <a:miter lim="400000"/>
          </a:ln>
        </p:spPr>
        <p:txBody>
          <a:bodyPr wrap="square" lIns="50800" tIns="50800" rIns="50800" bIns="50800" anchor="b">
            <a:spAutoFit/>
          </a:bodyPr>
          <a:lstStyle>
            <a:lvl1pPr algn="r" defTabSz="584200">
              <a:lnSpc>
                <a:spcPct val="100000"/>
              </a:lnSpc>
              <a:spcBef>
                <a:spcPts val="0"/>
              </a:spcBef>
              <a:defRPr sz="2200">
                <a:solidFill>
                  <a:schemeClr val="tx1"/>
                </a:solidFill>
                <a:latin typeface="+mn-lt"/>
                <a:ea typeface="Source Sans Pro" panose="020B0503030403020204" pitchFamily="34" charset="0"/>
              </a:defRPr>
            </a:lvl1pPr>
          </a:lstStyle>
          <a:p>
            <a:fld id="{86CB4B4D-7CA3-9044-876B-883B54F8677D}" type="slidenum">
              <a:rPr lang="nl-NL" smtClean="0"/>
              <a:pPr/>
              <a:t>‹nr.›</a:t>
            </a:fld>
            <a:endParaRPr lang="nl-NL"/>
          </a:p>
        </p:txBody>
      </p:sp>
      <p:sp>
        <p:nvSpPr>
          <p:cNvPr id="5" name="Tijdelijke aanduiding voor afbeelding 4">
            <a:extLst>
              <a:ext uri="{FF2B5EF4-FFF2-40B4-BE49-F238E27FC236}">
                <a16:creationId xmlns:a16="http://schemas.microsoft.com/office/drawing/2014/main" id="{3CA36E5E-48C5-43E7-AF37-D5B5524CA835}"/>
              </a:ext>
            </a:extLst>
          </p:cNvPr>
          <p:cNvSpPr>
            <a:spLocks noGrp="1"/>
          </p:cNvSpPr>
          <p:nvPr>
            <p:ph type="pic" sz="quarter" idx="23" hasCustomPrompt="1"/>
          </p:nvPr>
        </p:nvSpPr>
        <p:spPr>
          <a:xfrm>
            <a:off x="13295376" y="1961122"/>
            <a:ext cx="10076688" cy="10063238"/>
          </a:xfrm>
          <a:prstGeom prst="round2DiagRect">
            <a:avLst>
              <a:gd name="adj1" fmla="val 44290"/>
              <a:gd name="adj2" fmla="val 0"/>
            </a:avLst>
          </a:prstGeom>
          <a:solidFill>
            <a:schemeClr val="bg1">
              <a:lumMod val="95000"/>
            </a:schemeClr>
          </a:solidFill>
        </p:spPr>
        <p:txBody>
          <a:bodyPr>
            <a:normAutofit/>
          </a:bodyPr>
          <a:lstStyle>
            <a:lvl1pPr algn="r">
              <a:defRPr sz="2800">
                <a:solidFill>
                  <a:schemeClr val="bg1">
                    <a:lumMod val="75000"/>
                  </a:schemeClr>
                </a:solidFill>
              </a:defRPr>
            </a:lvl1pPr>
          </a:lstStyle>
          <a:p>
            <a:r>
              <a:rPr lang="nl-NL"/>
              <a:t> Voeg afbeelding in via icoon</a:t>
            </a:r>
          </a:p>
        </p:txBody>
      </p:sp>
      <p:grpSp>
        <p:nvGrpSpPr>
          <p:cNvPr id="14" name="Groep 13">
            <a:extLst>
              <a:ext uri="{FF2B5EF4-FFF2-40B4-BE49-F238E27FC236}">
                <a16:creationId xmlns:a16="http://schemas.microsoft.com/office/drawing/2014/main" id="{665BCA8D-EEF3-4C9C-B2F7-D7E10C35386B}"/>
              </a:ext>
            </a:extLst>
          </p:cNvPr>
          <p:cNvGrpSpPr/>
          <p:nvPr userDrawn="1"/>
        </p:nvGrpSpPr>
        <p:grpSpPr>
          <a:xfrm>
            <a:off x="367010" y="413369"/>
            <a:ext cx="2165696" cy="2165696"/>
            <a:chOff x="367010" y="413369"/>
            <a:chExt cx="2165696" cy="2165696"/>
          </a:xfrm>
        </p:grpSpPr>
        <p:sp>
          <p:nvSpPr>
            <p:cNvPr id="15" name="Graphic 13">
              <a:extLst>
                <a:ext uri="{FF2B5EF4-FFF2-40B4-BE49-F238E27FC236}">
                  <a16:creationId xmlns:a16="http://schemas.microsoft.com/office/drawing/2014/main" id="{DA54B97A-2D03-428D-AE4E-AA0EE4CC52D2}"/>
                </a:ext>
              </a:extLst>
            </p:cNvPr>
            <p:cNvSpPr/>
            <p:nvPr/>
          </p:nvSpPr>
          <p:spPr>
            <a:xfrm>
              <a:off x="367010" y="413369"/>
              <a:ext cx="2165696" cy="2165696"/>
            </a:xfrm>
            <a:custGeom>
              <a:avLst/>
              <a:gdLst>
                <a:gd name="connsiteX0" fmla="*/ 1200912 w 2165696"/>
                <a:gd name="connsiteY0" fmla="*/ 2165697 h 2165696"/>
                <a:gd name="connsiteX1" fmla="*/ 0 w 2165696"/>
                <a:gd name="connsiteY1" fmla="*/ 2165697 h 2165696"/>
                <a:gd name="connsiteX2" fmla="*/ 0 w 2165696"/>
                <a:gd name="connsiteY2" fmla="*/ 964784 h 2165696"/>
                <a:gd name="connsiteX3" fmla="*/ 964784 w 2165696"/>
                <a:gd name="connsiteY3" fmla="*/ 0 h 2165696"/>
                <a:gd name="connsiteX4" fmla="*/ 2165697 w 2165696"/>
                <a:gd name="connsiteY4" fmla="*/ 0 h 2165696"/>
                <a:gd name="connsiteX5" fmla="*/ 2165697 w 2165696"/>
                <a:gd name="connsiteY5" fmla="*/ 1200912 h 2165696"/>
                <a:gd name="connsiteX6" fmla="*/ 1200912 w 2165696"/>
                <a:gd name="connsiteY6" fmla="*/ 2165697 h 2165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5696" h="2165696">
                  <a:moveTo>
                    <a:pt x="1200912" y="2165697"/>
                  </a:moveTo>
                  <a:lnTo>
                    <a:pt x="0" y="2165697"/>
                  </a:lnTo>
                  <a:lnTo>
                    <a:pt x="0" y="964784"/>
                  </a:lnTo>
                  <a:cubicBezTo>
                    <a:pt x="0" y="431936"/>
                    <a:pt x="431936" y="0"/>
                    <a:pt x="964784" y="0"/>
                  </a:cubicBezTo>
                  <a:lnTo>
                    <a:pt x="2165697" y="0"/>
                  </a:lnTo>
                  <a:lnTo>
                    <a:pt x="2165697" y="1200912"/>
                  </a:lnTo>
                  <a:cubicBezTo>
                    <a:pt x="2165697" y="1733760"/>
                    <a:pt x="1733760" y="2165697"/>
                    <a:pt x="1200912" y="2165697"/>
                  </a:cubicBezTo>
                </a:path>
              </a:pathLst>
            </a:custGeom>
            <a:solidFill>
              <a:schemeClr val="bg1"/>
            </a:solidFill>
            <a:ln w="2224" cap="flat">
              <a:noFill/>
              <a:prstDash val="solid"/>
              <a:miter/>
            </a:ln>
          </p:spPr>
          <p:txBody>
            <a:bodyPr rtlCol="0" anchor="ctr"/>
            <a:lstStyle/>
            <a:p>
              <a:endParaRPr lang="nl-NL"/>
            </a:p>
          </p:txBody>
        </p:sp>
        <p:grpSp>
          <p:nvGrpSpPr>
            <p:cNvPr id="16" name="Graphic 13">
              <a:extLst>
                <a:ext uri="{FF2B5EF4-FFF2-40B4-BE49-F238E27FC236}">
                  <a16:creationId xmlns:a16="http://schemas.microsoft.com/office/drawing/2014/main" id="{7CD8A4AF-FCD4-457B-B4BA-1DC34781D974}"/>
                </a:ext>
              </a:extLst>
            </p:cNvPr>
            <p:cNvGrpSpPr/>
            <p:nvPr/>
          </p:nvGrpSpPr>
          <p:grpSpPr>
            <a:xfrm>
              <a:off x="610655" y="1130302"/>
              <a:ext cx="1628994" cy="740997"/>
              <a:chOff x="610655" y="1130302"/>
              <a:chExt cx="1628994" cy="740997"/>
            </a:xfrm>
            <a:solidFill>
              <a:schemeClr val="tx1"/>
            </a:solidFill>
          </p:grpSpPr>
          <p:sp>
            <p:nvSpPr>
              <p:cNvPr id="17" name="Graphic 13">
                <a:extLst>
                  <a:ext uri="{FF2B5EF4-FFF2-40B4-BE49-F238E27FC236}">
                    <a16:creationId xmlns:a16="http://schemas.microsoft.com/office/drawing/2014/main" id="{751926A9-6804-4A2B-8DE6-6F4269B023E2}"/>
                  </a:ext>
                </a:extLst>
              </p:cNvPr>
              <p:cNvSpPr/>
              <p:nvPr/>
            </p:nvSpPr>
            <p:spPr>
              <a:xfrm>
                <a:off x="1171083" y="1566053"/>
                <a:ext cx="397284" cy="305246"/>
              </a:xfrm>
              <a:custGeom>
                <a:avLst/>
                <a:gdLst>
                  <a:gd name="connsiteX0" fmla="*/ 397284 w 397284"/>
                  <a:gd name="connsiteY0" fmla="*/ 109933 h 305246"/>
                  <a:gd name="connsiteX1" fmla="*/ 397284 w 397284"/>
                  <a:gd name="connsiteY1" fmla="*/ 192801 h 305246"/>
                  <a:gd name="connsiteX2" fmla="*/ 291695 w 397284"/>
                  <a:gd name="connsiteY2" fmla="*/ 304850 h 305246"/>
                  <a:gd name="connsiteX3" fmla="*/ 204595 w 397284"/>
                  <a:gd name="connsiteY3" fmla="*/ 275446 h 305246"/>
                  <a:gd name="connsiteX4" fmla="*/ 191898 w 397284"/>
                  <a:gd name="connsiteY4" fmla="*/ 275669 h 305246"/>
                  <a:gd name="connsiteX5" fmla="*/ 143781 w 397284"/>
                  <a:gd name="connsiteY5" fmla="*/ 301509 h 305246"/>
                  <a:gd name="connsiteX6" fmla="*/ 15024 w 397284"/>
                  <a:gd name="connsiteY6" fmla="*/ 251610 h 305246"/>
                  <a:gd name="connsiteX7" fmla="*/ 99 w 397284"/>
                  <a:gd name="connsiteY7" fmla="*/ 195474 h 305246"/>
                  <a:gd name="connsiteX8" fmla="*/ 99 w 397284"/>
                  <a:gd name="connsiteY8" fmla="*/ 21942 h 305246"/>
                  <a:gd name="connsiteX9" fmla="*/ 21261 w 397284"/>
                  <a:gd name="connsiteY9" fmla="*/ 780 h 305246"/>
                  <a:gd name="connsiteX10" fmla="*/ 40196 w 397284"/>
                  <a:gd name="connsiteY10" fmla="*/ 780 h 305246"/>
                  <a:gd name="connsiteX11" fmla="*/ 60022 w 397284"/>
                  <a:gd name="connsiteY11" fmla="*/ 20606 h 305246"/>
                  <a:gd name="connsiteX12" fmla="*/ 60022 w 397284"/>
                  <a:gd name="connsiteY12" fmla="*/ 58921 h 305246"/>
                  <a:gd name="connsiteX13" fmla="*/ 60022 w 397284"/>
                  <a:gd name="connsiteY13" fmla="*/ 192801 h 305246"/>
                  <a:gd name="connsiteX14" fmla="*/ 94996 w 397284"/>
                  <a:gd name="connsiteY14" fmla="*/ 245373 h 305246"/>
                  <a:gd name="connsiteX15" fmla="*/ 168953 w 397284"/>
                  <a:gd name="connsiteY15" fmla="*/ 190128 h 305246"/>
                  <a:gd name="connsiteX16" fmla="*/ 168953 w 397284"/>
                  <a:gd name="connsiteY16" fmla="*/ 22165 h 305246"/>
                  <a:gd name="connsiteX17" fmla="*/ 190561 w 397284"/>
                  <a:gd name="connsiteY17" fmla="*/ 557 h 305246"/>
                  <a:gd name="connsiteX18" fmla="*/ 209941 w 397284"/>
                  <a:gd name="connsiteY18" fmla="*/ 557 h 305246"/>
                  <a:gd name="connsiteX19" fmla="*/ 228208 w 397284"/>
                  <a:gd name="connsiteY19" fmla="*/ 18155 h 305246"/>
                  <a:gd name="connsiteX20" fmla="*/ 228431 w 397284"/>
                  <a:gd name="connsiteY20" fmla="*/ 24170 h 305246"/>
                  <a:gd name="connsiteX21" fmla="*/ 228431 w 397284"/>
                  <a:gd name="connsiteY21" fmla="*/ 189905 h 305246"/>
                  <a:gd name="connsiteX22" fmla="*/ 248479 w 397284"/>
                  <a:gd name="connsiteY22" fmla="*/ 237576 h 305246"/>
                  <a:gd name="connsiteX23" fmla="*/ 307288 w 397284"/>
                  <a:gd name="connsiteY23" fmla="*/ 243145 h 305246"/>
                  <a:gd name="connsiteX24" fmla="*/ 337139 w 397284"/>
                  <a:gd name="connsiteY24" fmla="*/ 193692 h 305246"/>
                  <a:gd name="connsiteX25" fmla="*/ 337139 w 397284"/>
                  <a:gd name="connsiteY25" fmla="*/ 23501 h 305246"/>
                  <a:gd name="connsiteX26" fmla="*/ 338698 w 397284"/>
                  <a:gd name="connsiteY26" fmla="*/ 11918 h 305246"/>
                  <a:gd name="connsiteX27" fmla="*/ 354291 w 397284"/>
                  <a:gd name="connsiteY27" fmla="*/ 334 h 305246"/>
                  <a:gd name="connsiteX28" fmla="*/ 380355 w 397284"/>
                  <a:gd name="connsiteY28" fmla="*/ 334 h 305246"/>
                  <a:gd name="connsiteX29" fmla="*/ 397062 w 397284"/>
                  <a:gd name="connsiteY29" fmla="*/ 19492 h 305246"/>
                  <a:gd name="connsiteX30" fmla="*/ 397284 w 397284"/>
                  <a:gd name="connsiteY30" fmla="*/ 109933 h 305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97284" h="305246">
                    <a:moveTo>
                      <a:pt x="397284" y="109933"/>
                    </a:moveTo>
                    <a:lnTo>
                      <a:pt x="397284" y="192801"/>
                    </a:lnTo>
                    <a:cubicBezTo>
                      <a:pt x="397284" y="255397"/>
                      <a:pt x="354291" y="301063"/>
                      <a:pt x="291695" y="304850"/>
                    </a:cubicBezTo>
                    <a:cubicBezTo>
                      <a:pt x="258503" y="306855"/>
                      <a:pt x="229099" y="298613"/>
                      <a:pt x="204595" y="275446"/>
                    </a:cubicBezTo>
                    <a:cubicBezTo>
                      <a:pt x="200140" y="271213"/>
                      <a:pt x="197244" y="271436"/>
                      <a:pt x="191898" y="275669"/>
                    </a:cubicBezTo>
                    <a:cubicBezTo>
                      <a:pt x="177418" y="287252"/>
                      <a:pt x="161825" y="296831"/>
                      <a:pt x="143781" y="301509"/>
                    </a:cubicBezTo>
                    <a:cubicBezTo>
                      <a:pt x="96778" y="313315"/>
                      <a:pt x="40865" y="297277"/>
                      <a:pt x="15024" y="251610"/>
                    </a:cubicBezTo>
                    <a:cubicBezTo>
                      <a:pt x="5223" y="234235"/>
                      <a:pt x="99" y="215300"/>
                      <a:pt x="99" y="195474"/>
                    </a:cubicBezTo>
                    <a:cubicBezTo>
                      <a:pt x="-124" y="137556"/>
                      <a:pt x="99" y="79860"/>
                      <a:pt x="99" y="21942"/>
                    </a:cubicBezTo>
                    <a:cubicBezTo>
                      <a:pt x="99" y="7685"/>
                      <a:pt x="7005" y="1002"/>
                      <a:pt x="21261" y="780"/>
                    </a:cubicBezTo>
                    <a:cubicBezTo>
                      <a:pt x="27499" y="780"/>
                      <a:pt x="33959" y="780"/>
                      <a:pt x="40196" y="780"/>
                    </a:cubicBezTo>
                    <a:cubicBezTo>
                      <a:pt x="52671" y="1002"/>
                      <a:pt x="59799" y="7908"/>
                      <a:pt x="60022" y="20606"/>
                    </a:cubicBezTo>
                    <a:cubicBezTo>
                      <a:pt x="60245" y="33303"/>
                      <a:pt x="60022" y="46223"/>
                      <a:pt x="60022" y="58921"/>
                    </a:cubicBezTo>
                    <a:cubicBezTo>
                      <a:pt x="60022" y="103473"/>
                      <a:pt x="60022" y="148248"/>
                      <a:pt x="60022" y="192801"/>
                    </a:cubicBezTo>
                    <a:cubicBezTo>
                      <a:pt x="60022" y="217973"/>
                      <a:pt x="73165" y="238467"/>
                      <a:pt x="94996" y="245373"/>
                    </a:cubicBezTo>
                    <a:cubicBezTo>
                      <a:pt x="131306" y="257179"/>
                      <a:pt x="168953" y="237131"/>
                      <a:pt x="168953" y="190128"/>
                    </a:cubicBezTo>
                    <a:cubicBezTo>
                      <a:pt x="169176" y="134214"/>
                      <a:pt x="168953" y="78301"/>
                      <a:pt x="168953" y="22165"/>
                    </a:cubicBezTo>
                    <a:cubicBezTo>
                      <a:pt x="168953" y="6794"/>
                      <a:pt x="175190" y="557"/>
                      <a:pt x="190561" y="557"/>
                    </a:cubicBezTo>
                    <a:cubicBezTo>
                      <a:pt x="197021" y="557"/>
                      <a:pt x="203481" y="334"/>
                      <a:pt x="209941" y="557"/>
                    </a:cubicBezTo>
                    <a:cubicBezTo>
                      <a:pt x="220857" y="1002"/>
                      <a:pt x="227317" y="7017"/>
                      <a:pt x="228208" y="18155"/>
                    </a:cubicBezTo>
                    <a:cubicBezTo>
                      <a:pt x="228431" y="20160"/>
                      <a:pt x="228431" y="22165"/>
                      <a:pt x="228431" y="24170"/>
                    </a:cubicBezTo>
                    <a:cubicBezTo>
                      <a:pt x="228431" y="80083"/>
                      <a:pt x="228431" y="133769"/>
                      <a:pt x="228431" y="189905"/>
                    </a:cubicBezTo>
                    <a:cubicBezTo>
                      <a:pt x="228431" y="207949"/>
                      <a:pt x="233331" y="226438"/>
                      <a:pt x="248479" y="237576"/>
                    </a:cubicBezTo>
                    <a:cubicBezTo>
                      <a:pt x="266746" y="251165"/>
                      <a:pt x="287017" y="252278"/>
                      <a:pt x="307288" y="243145"/>
                    </a:cubicBezTo>
                    <a:cubicBezTo>
                      <a:pt x="328005" y="233789"/>
                      <a:pt x="336916" y="215745"/>
                      <a:pt x="337139" y="193692"/>
                    </a:cubicBezTo>
                    <a:cubicBezTo>
                      <a:pt x="337584" y="137110"/>
                      <a:pt x="337361" y="80306"/>
                      <a:pt x="337139" y="23501"/>
                    </a:cubicBezTo>
                    <a:cubicBezTo>
                      <a:pt x="337139" y="19492"/>
                      <a:pt x="337361" y="15705"/>
                      <a:pt x="338698" y="11918"/>
                    </a:cubicBezTo>
                    <a:cubicBezTo>
                      <a:pt x="341148" y="4567"/>
                      <a:pt x="346717" y="780"/>
                      <a:pt x="354291" y="334"/>
                    </a:cubicBezTo>
                    <a:cubicBezTo>
                      <a:pt x="362979" y="-111"/>
                      <a:pt x="371667" y="-111"/>
                      <a:pt x="380355" y="334"/>
                    </a:cubicBezTo>
                    <a:cubicBezTo>
                      <a:pt x="390824" y="1002"/>
                      <a:pt x="397062" y="8354"/>
                      <a:pt x="397062" y="19492"/>
                    </a:cubicBezTo>
                    <a:cubicBezTo>
                      <a:pt x="397284" y="49787"/>
                      <a:pt x="397284" y="79860"/>
                      <a:pt x="397284" y="109933"/>
                    </a:cubicBezTo>
                  </a:path>
                </a:pathLst>
              </a:custGeom>
              <a:grpFill/>
              <a:ln w="2224" cap="flat">
                <a:noFill/>
                <a:prstDash val="solid"/>
                <a:miter/>
              </a:ln>
            </p:spPr>
            <p:txBody>
              <a:bodyPr rtlCol="0" anchor="ctr"/>
              <a:lstStyle/>
              <a:p>
                <a:endParaRPr lang="nl-NL"/>
              </a:p>
            </p:txBody>
          </p:sp>
          <p:sp>
            <p:nvSpPr>
              <p:cNvPr id="18" name="Graphic 13">
                <a:extLst>
                  <a:ext uri="{FF2B5EF4-FFF2-40B4-BE49-F238E27FC236}">
                    <a16:creationId xmlns:a16="http://schemas.microsoft.com/office/drawing/2014/main" id="{81EAC9DB-08A2-4AA3-8169-C93CEE382FD9}"/>
                  </a:ext>
                </a:extLst>
              </p:cNvPr>
              <p:cNvSpPr/>
              <p:nvPr/>
            </p:nvSpPr>
            <p:spPr>
              <a:xfrm>
                <a:off x="859760" y="1137519"/>
                <a:ext cx="244815" cy="449808"/>
              </a:xfrm>
              <a:custGeom>
                <a:avLst/>
                <a:gdLst>
                  <a:gd name="connsiteX0" fmla="*/ 244816 w 244815"/>
                  <a:gd name="connsiteY0" fmla="*/ 225041 h 449808"/>
                  <a:gd name="connsiteX1" fmla="*/ 244816 w 244815"/>
                  <a:gd name="connsiteY1" fmla="*/ 427977 h 449808"/>
                  <a:gd name="connsiteX2" fmla="*/ 223208 w 244815"/>
                  <a:gd name="connsiteY2" fmla="*/ 449808 h 449808"/>
                  <a:gd name="connsiteX3" fmla="*/ 207615 w 244815"/>
                  <a:gd name="connsiteY3" fmla="*/ 449808 h 449808"/>
                  <a:gd name="connsiteX4" fmla="*/ 184893 w 244815"/>
                  <a:gd name="connsiteY4" fmla="*/ 426864 h 449808"/>
                  <a:gd name="connsiteX5" fmla="*/ 184893 w 244815"/>
                  <a:gd name="connsiteY5" fmla="*/ 309691 h 449808"/>
                  <a:gd name="connsiteX6" fmla="*/ 184893 w 244815"/>
                  <a:gd name="connsiteY6" fmla="*/ 306349 h 449808"/>
                  <a:gd name="connsiteX7" fmla="*/ 176428 w 244815"/>
                  <a:gd name="connsiteY7" fmla="*/ 297884 h 449808"/>
                  <a:gd name="connsiteX8" fmla="*/ 110936 w 244815"/>
                  <a:gd name="connsiteY8" fmla="*/ 297884 h 449808"/>
                  <a:gd name="connsiteX9" fmla="*/ 0 w 244815"/>
                  <a:gd name="connsiteY9" fmla="*/ 186948 h 449808"/>
                  <a:gd name="connsiteX10" fmla="*/ 0 w 244815"/>
                  <a:gd name="connsiteY10" fmla="*/ 110318 h 449808"/>
                  <a:gd name="connsiteX11" fmla="*/ 101134 w 244815"/>
                  <a:gd name="connsiteY11" fmla="*/ 942 h 449808"/>
                  <a:gd name="connsiteX12" fmla="*/ 173309 w 244815"/>
                  <a:gd name="connsiteY12" fmla="*/ 273 h 449808"/>
                  <a:gd name="connsiteX13" fmla="*/ 223876 w 244815"/>
                  <a:gd name="connsiteY13" fmla="*/ 273 h 449808"/>
                  <a:gd name="connsiteX14" fmla="*/ 244816 w 244815"/>
                  <a:gd name="connsiteY14" fmla="*/ 20990 h 449808"/>
                  <a:gd name="connsiteX15" fmla="*/ 244816 w 244815"/>
                  <a:gd name="connsiteY15" fmla="*/ 225041 h 449808"/>
                  <a:gd name="connsiteX16" fmla="*/ 184893 w 244815"/>
                  <a:gd name="connsiteY16" fmla="*/ 148856 h 449808"/>
                  <a:gd name="connsiteX17" fmla="*/ 184893 w 244815"/>
                  <a:gd name="connsiteY17" fmla="*/ 64429 h 449808"/>
                  <a:gd name="connsiteX18" fmla="*/ 177764 w 244815"/>
                  <a:gd name="connsiteY18" fmla="*/ 56410 h 449808"/>
                  <a:gd name="connsiteX19" fmla="*/ 111604 w 244815"/>
                  <a:gd name="connsiteY19" fmla="*/ 56410 h 449808"/>
                  <a:gd name="connsiteX20" fmla="*/ 59923 w 244815"/>
                  <a:gd name="connsiteY20" fmla="*/ 105640 h 449808"/>
                  <a:gd name="connsiteX21" fmla="*/ 59700 w 244815"/>
                  <a:gd name="connsiteY21" fmla="*/ 188285 h 449808"/>
                  <a:gd name="connsiteX22" fmla="*/ 116728 w 244815"/>
                  <a:gd name="connsiteY22" fmla="*/ 240857 h 449808"/>
                  <a:gd name="connsiteX23" fmla="*/ 174423 w 244815"/>
                  <a:gd name="connsiteY23" fmla="*/ 240857 h 449808"/>
                  <a:gd name="connsiteX24" fmla="*/ 184670 w 244815"/>
                  <a:gd name="connsiteY24" fmla="*/ 230833 h 449808"/>
                  <a:gd name="connsiteX25" fmla="*/ 184670 w 244815"/>
                  <a:gd name="connsiteY25" fmla="*/ 148856 h 449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4815" h="449808">
                    <a:moveTo>
                      <a:pt x="244816" y="225041"/>
                    </a:moveTo>
                    <a:lnTo>
                      <a:pt x="244816" y="427977"/>
                    </a:lnTo>
                    <a:cubicBezTo>
                      <a:pt x="244816" y="443125"/>
                      <a:pt x="238356" y="449585"/>
                      <a:pt x="223208" y="449808"/>
                    </a:cubicBezTo>
                    <a:cubicBezTo>
                      <a:pt x="218084" y="449808"/>
                      <a:pt x="212738" y="449808"/>
                      <a:pt x="207615" y="449808"/>
                    </a:cubicBezTo>
                    <a:cubicBezTo>
                      <a:pt x="191130" y="449808"/>
                      <a:pt x="184893" y="443348"/>
                      <a:pt x="184893" y="426864"/>
                    </a:cubicBezTo>
                    <a:cubicBezTo>
                      <a:pt x="184893" y="387880"/>
                      <a:pt x="184893" y="348674"/>
                      <a:pt x="184893" y="309691"/>
                    </a:cubicBezTo>
                    <a:cubicBezTo>
                      <a:pt x="184893" y="308577"/>
                      <a:pt x="184893" y="307463"/>
                      <a:pt x="184893" y="306349"/>
                    </a:cubicBezTo>
                    <a:cubicBezTo>
                      <a:pt x="184893" y="299221"/>
                      <a:pt x="183556" y="297884"/>
                      <a:pt x="176428" y="297884"/>
                    </a:cubicBezTo>
                    <a:cubicBezTo>
                      <a:pt x="154597" y="297884"/>
                      <a:pt x="132766" y="297884"/>
                      <a:pt x="110936" y="297884"/>
                    </a:cubicBezTo>
                    <a:cubicBezTo>
                      <a:pt x="48562" y="297884"/>
                      <a:pt x="0" y="249322"/>
                      <a:pt x="0" y="186948"/>
                    </a:cubicBezTo>
                    <a:cubicBezTo>
                      <a:pt x="0" y="161331"/>
                      <a:pt x="0" y="135713"/>
                      <a:pt x="0" y="110318"/>
                    </a:cubicBezTo>
                    <a:cubicBezTo>
                      <a:pt x="0" y="51732"/>
                      <a:pt x="42770" y="5397"/>
                      <a:pt x="101134" y="942"/>
                    </a:cubicBezTo>
                    <a:cubicBezTo>
                      <a:pt x="125192" y="-840"/>
                      <a:pt x="149251" y="496"/>
                      <a:pt x="173309" y="273"/>
                    </a:cubicBezTo>
                    <a:cubicBezTo>
                      <a:pt x="190239" y="51"/>
                      <a:pt x="206946" y="273"/>
                      <a:pt x="223876" y="273"/>
                    </a:cubicBezTo>
                    <a:cubicBezTo>
                      <a:pt x="237910" y="273"/>
                      <a:pt x="244816" y="7179"/>
                      <a:pt x="244816" y="20990"/>
                    </a:cubicBezTo>
                    <a:cubicBezTo>
                      <a:pt x="244816" y="88710"/>
                      <a:pt x="244816" y="156875"/>
                      <a:pt x="244816" y="225041"/>
                    </a:cubicBezTo>
                    <a:moveTo>
                      <a:pt x="184893" y="148856"/>
                    </a:moveTo>
                    <a:cubicBezTo>
                      <a:pt x="184893" y="120788"/>
                      <a:pt x="184893" y="92497"/>
                      <a:pt x="184893" y="64429"/>
                    </a:cubicBezTo>
                    <a:cubicBezTo>
                      <a:pt x="184893" y="57969"/>
                      <a:pt x="183556" y="56410"/>
                      <a:pt x="177764" y="56410"/>
                    </a:cubicBezTo>
                    <a:cubicBezTo>
                      <a:pt x="155711" y="56410"/>
                      <a:pt x="133658" y="55964"/>
                      <a:pt x="111604" y="56410"/>
                    </a:cubicBezTo>
                    <a:cubicBezTo>
                      <a:pt x="84650" y="57078"/>
                      <a:pt x="61705" y="78686"/>
                      <a:pt x="59923" y="105640"/>
                    </a:cubicBezTo>
                    <a:cubicBezTo>
                      <a:pt x="58141" y="133263"/>
                      <a:pt x="58364" y="160885"/>
                      <a:pt x="59700" y="188285"/>
                    </a:cubicBezTo>
                    <a:cubicBezTo>
                      <a:pt x="61260" y="221922"/>
                      <a:pt x="83090" y="240857"/>
                      <a:pt x="116728" y="240857"/>
                    </a:cubicBezTo>
                    <a:cubicBezTo>
                      <a:pt x="135885" y="240857"/>
                      <a:pt x="155265" y="240857"/>
                      <a:pt x="174423" y="240857"/>
                    </a:cubicBezTo>
                    <a:cubicBezTo>
                      <a:pt x="184002" y="240857"/>
                      <a:pt x="184670" y="240189"/>
                      <a:pt x="184670" y="230833"/>
                    </a:cubicBezTo>
                    <a:lnTo>
                      <a:pt x="184670" y="148856"/>
                    </a:lnTo>
                    <a:close/>
                  </a:path>
                </a:pathLst>
              </a:custGeom>
              <a:grpFill/>
              <a:ln w="2224" cap="flat">
                <a:noFill/>
                <a:prstDash val="solid"/>
                <a:miter/>
              </a:ln>
            </p:spPr>
            <p:txBody>
              <a:bodyPr rtlCol="0" anchor="ctr"/>
              <a:lstStyle/>
              <a:p>
                <a:endParaRPr lang="nl-NL"/>
              </a:p>
            </p:txBody>
          </p:sp>
          <p:sp>
            <p:nvSpPr>
              <p:cNvPr id="19" name="Graphic 13">
                <a:extLst>
                  <a:ext uri="{FF2B5EF4-FFF2-40B4-BE49-F238E27FC236}">
                    <a16:creationId xmlns:a16="http://schemas.microsoft.com/office/drawing/2014/main" id="{CACB9071-024A-421E-B2B2-0EC5733144DF}"/>
                  </a:ext>
                </a:extLst>
              </p:cNvPr>
              <p:cNvSpPr/>
              <p:nvPr/>
            </p:nvSpPr>
            <p:spPr>
              <a:xfrm>
                <a:off x="1483718" y="1137124"/>
                <a:ext cx="244815" cy="304629"/>
              </a:xfrm>
              <a:custGeom>
                <a:avLst/>
                <a:gdLst>
                  <a:gd name="connsiteX0" fmla="*/ 244816 w 244815"/>
                  <a:gd name="connsiteY0" fmla="*/ 149028 h 304629"/>
                  <a:gd name="connsiteX1" fmla="*/ 244816 w 244815"/>
                  <a:gd name="connsiteY1" fmla="*/ 275334 h 304629"/>
                  <a:gd name="connsiteX2" fmla="*/ 222317 w 244815"/>
                  <a:gd name="connsiteY2" fmla="*/ 298056 h 304629"/>
                  <a:gd name="connsiteX3" fmla="*/ 205610 w 244815"/>
                  <a:gd name="connsiteY3" fmla="*/ 298056 h 304629"/>
                  <a:gd name="connsiteX4" fmla="*/ 184893 w 244815"/>
                  <a:gd name="connsiteY4" fmla="*/ 279567 h 304629"/>
                  <a:gd name="connsiteX5" fmla="*/ 181997 w 244815"/>
                  <a:gd name="connsiteY5" fmla="*/ 273998 h 304629"/>
                  <a:gd name="connsiteX6" fmla="*/ 176428 w 244815"/>
                  <a:gd name="connsiteY6" fmla="*/ 276448 h 304629"/>
                  <a:gd name="connsiteX7" fmla="*/ 126084 w 244815"/>
                  <a:gd name="connsiteY7" fmla="*/ 302957 h 304629"/>
                  <a:gd name="connsiteX8" fmla="*/ 50344 w 244815"/>
                  <a:gd name="connsiteY8" fmla="*/ 289146 h 304629"/>
                  <a:gd name="connsiteX9" fmla="*/ 2450 w 244815"/>
                  <a:gd name="connsiteY9" fmla="*/ 213406 h 304629"/>
                  <a:gd name="connsiteX10" fmla="*/ 0 w 244815"/>
                  <a:gd name="connsiteY10" fmla="*/ 186452 h 304629"/>
                  <a:gd name="connsiteX11" fmla="*/ 0 w 244815"/>
                  <a:gd name="connsiteY11" fmla="*/ 124747 h 304629"/>
                  <a:gd name="connsiteX12" fmla="*/ 107372 w 244815"/>
                  <a:gd name="connsiteY12" fmla="*/ 1114 h 304629"/>
                  <a:gd name="connsiteX13" fmla="*/ 123410 w 244815"/>
                  <a:gd name="connsiteY13" fmla="*/ 0 h 304629"/>
                  <a:gd name="connsiteX14" fmla="*/ 222317 w 244815"/>
                  <a:gd name="connsiteY14" fmla="*/ 0 h 304629"/>
                  <a:gd name="connsiteX15" fmla="*/ 244816 w 244815"/>
                  <a:gd name="connsiteY15" fmla="*/ 22722 h 304629"/>
                  <a:gd name="connsiteX16" fmla="*/ 244816 w 244815"/>
                  <a:gd name="connsiteY16" fmla="*/ 149028 h 304629"/>
                  <a:gd name="connsiteX17" fmla="*/ 184893 w 244815"/>
                  <a:gd name="connsiteY17" fmla="*/ 122965 h 304629"/>
                  <a:gd name="connsiteX18" fmla="*/ 185116 w 244815"/>
                  <a:gd name="connsiteY18" fmla="*/ 122965 h 304629"/>
                  <a:gd name="connsiteX19" fmla="*/ 185116 w 244815"/>
                  <a:gd name="connsiteY19" fmla="*/ 64601 h 304629"/>
                  <a:gd name="connsiteX20" fmla="*/ 177987 w 244815"/>
                  <a:gd name="connsiteY20" fmla="*/ 56582 h 304629"/>
                  <a:gd name="connsiteX21" fmla="*/ 124079 w 244815"/>
                  <a:gd name="connsiteY21" fmla="*/ 56582 h 304629"/>
                  <a:gd name="connsiteX22" fmla="*/ 60591 w 244815"/>
                  <a:gd name="connsiteY22" fmla="*/ 116505 h 304629"/>
                  <a:gd name="connsiteX23" fmla="*/ 60146 w 244815"/>
                  <a:gd name="connsiteY23" fmla="*/ 196031 h 304629"/>
                  <a:gd name="connsiteX24" fmla="*/ 81531 w 244815"/>
                  <a:gd name="connsiteY24" fmla="*/ 237910 h 304629"/>
                  <a:gd name="connsiteX25" fmla="*/ 134326 w 244815"/>
                  <a:gd name="connsiteY25" fmla="*/ 245930 h 304629"/>
                  <a:gd name="connsiteX26" fmla="*/ 185116 w 244815"/>
                  <a:gd name="connsiteY26" fmla="*/ 181329 h 304629"/>
                  <a:gd name="connsiteX27" fmla="*/ 184893 w 244815"/>
                  <a:gd name="connsiteY27" fmla="*/ 122965 h 30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44815" h="304629">
                    <a:moveTo>
                      <a:pt x="244816" y="149028"/>
                    </a:moveTo>
                    <a:cubicBezTo>
                      <a:pt x="244816" y="191130"/>
                      <a:pt x="244816" y="233232"/>
                      <a:pt x="244816" y="275334"/>
                    </a:cubicBezTo>
                    <a:cubicBezTo>
                      <a:pt x="244816" y="291596"/>
                      <a:pt x="238579" y="298056"/>
                      <a:pt x="222317" y="298056"/>
                    </a:cubicBezTo>
                    <a:cubicBezTo>
                      <a:pt x="216748" y="298056"/>
                      <a:pt x="211179" y="298056"/>
                      <a:pt x="205610" y="298056"/>
                    </a:cubicBezTo>
                    <a:cubicBezTo>
                      <a:pt x="193581" y="298056"/>
                      <a:pt x="186229" y="291596"/>
                      <a:pt x="184893" y="279567"/>
                    </a:cubicBezTo>
                    <a:cubicBezTo>
                      <a:pt x="184670" y="277339"/>
                      <a:pt x="184447" y="275112"/>
                      <a:pt x="181997" y="273998"/>
                    </a:cubicBezTo>
                    <a:cubicBezTo>
                      <a:pt x="179324" y="272884"/>
                      <a:pt x="177764" y="274889"/>
                      <a:pt x="176428" y="276448"/>
                    </a:cubicBezTo>
                    <a:cubicBezTo>
                      <a:pt x="163508" y="292487"/>
                      <a:pt x="145909" y="300061"/>
                      <a:pt x="126084" y="302957"/>
                    </a:cubicBezTo>
                    <a:cubicBezTo>
                      <a:pt x="99352" y="306967"/>
                      <a:pt x="73512" y="304294"/>
                      <a:pt x="50344" y="289146"/>
                    </a:cubicBezTo>
                    <a:cubicBezTo>
                      <a:pt x="22722" y="271325"/>
                      <a:pt x="8910" y="244816"/>
                      <a:pt x="2450" y="213406"/>
                    </a:cubicBezTo>
                    <a:cubicBezTo>
                      <a:pt x="668" y="204496"/>
                      <a:pt x="0" y="195363"/>
                      <a:pt x="0" y="186452"/>
                    </a:cubicBezTo>
                    <a:cubicBezTo>
                      <a:pt x="223" y="165958"/>
                      <a:pt x="0" y="145241"/>
                      <a:pt x="0" y="124747"/>
                    </a:cubicBezTo>
                    <a:cubicBezTo>
                      <a:pt x="0" y="60814"/>
                      <a:pt x="44107" y="10024"/>
                      <a:pt x="107372" y="1114"/>
                    </a:cubicBezTo>
                    <a:cubicBezTo>
                      <a:pt x="112718" y="446"/>
                      <a:pt x="118064" y="0"/>
                      <a:pt x="123410" y="0"/>
                    </a:cubicBezTo>
                    <a:cubicBezTo>
                      <a:pt x="156379" y="0"/>
                      <a:pt x="189348" y="0"/>
                      <a:pt x="222317" y="0"/>
                    </a:cubicBezTo>
                    <a:cubicBezTo>
                      <a:pt x="238356" y="0"/>
                      <a:pt x="244816" y="6460"/>
                      <a:pt x="244816" y="22722"/>
                    </a:cubicBezTo>
                    <a:cubicBezTo>
                      <a:pt x="244816" y="64824"/>
                      <a:pt x="244816" y="106926"/>
                      <a:pt x="244816" y="149028"/>
                    </a:cubicBezTo>
                    <a:moveTo>
                      <a:pt x="184893" y="122965"/>
                    </a:moveTo>
                    <a:lnTo>
                      <a:pt x="185116" y="122965"/>
                    </a:lnTo>
                    <a:cubicBezTo>
                      <a:pt x="185116" y="103585"/>
                      <a:pt x="185116" y="83981"/>
                      <a:pt x="185116" y="64601"/>
                    </a:cubicBezTo>
                    <a:cubicBezTo>
                      <a:pt x="185116" y="58141"/>
                      <a:pt x="183556" y="56582"/>
                      <a:pt x="177987" y="56582"/>
                    </a:cubicBezTo>
                    <a:cubicBezTo>
                      <a:pt x="159943" y="56582"/>
                      <a:pt x="142122" y="56136"/>
                      <a:pt x="124079" y="56582"/>
                    </a:cubicBezTo>
                    <a:cubicBezTo>
                      <a:pt x="90219" y="57473"/>
                      <a:pt x="63042" y="82645"/>
                      <a:pt x="60591" y="116505"/>
                    </a:cubicBezTo>
                    <a:cubicBezTo>
                      <a:pt x="58586" y="143014"/>
                      <a:pt x="59700" y="169522"/>
                      <a:pt x="60146" y="196031"/>
                    </a:cubicBezTo>
                    <a:cubicBezTo>
                      <a:pt x="60591" y="212961"/>
                      <a:pt x="67274" y="227886"/>
                      <a:pt x="81531" y="237910"/>
                    </a:cubicBezTo>
                    <a:cubicBezTo>
                      <a:pt x="97570" y="249494"/>
                      <a:pt x="115836" y="249940"/>
                      <a:pt x="134326" y="245930"/>
                    </a:cubicBezTo>
                    <a:cubicBezTo>
                      <a:pt x="162839" y="239470"/>
                      <a:pt x="184002" y="212293"/>
                      <a:pt x="185116" y="181329"/>
                    </a:cubicBezTo>
                    <a:cubicBezTo>
                      <a:pt x="185338" y="161948"/>
                      <a:pt x="184893" y="142345"/>
                      <a:pt x="184893" y="122965"/>
                    </a:cubicBezTo>
                  </a:path>
                </a:pathLst>
              </a:custGeom>
              <a:grpFill/>
              <a:ln w="2224" cap="flat">
                <a:noFill/>
                <a:prstDash val="solid"/>
                <a:miter/>
              </a:ln>
            </p:spPr>
            <p:txBody>
              <a:bodyPr rtlCol="0" anchor="ctr"/>
              <a:lstStyle/>
              <a:p>
                <a:endParaRPr lang="nl-NL"/>
              </a:p>
            </p:txBody>
          </p:sp>
          <p:sp>
            <p:nvSpPr>
              <p:cNvPr id="20" name="Graphic 13">
                <a:extLst>
                  <a:ext uri="{FF2B5EF4-FFF2-40B4-BE49-F238E27FC236}">
                    <a16:creationId xmlns:a16="http://schemas.microsoft.com/office/drawing/2014/main" id="{8F9EE42F-5EDC-4F68-A2B6-380F6074863E}"/>
                  </a:ext>
                </a:extLst>
              </p:cNvPr>
              <p:cNvSpPr/>
              <p:nvPr/>
            </p:nvSpPr>
            <p:spPr>
              <a:xfrm>
                <a:off x="2004481" y="1559621"/>
                <a:ext cx="235169" cy="311281"/>
              </a:xfrm>
              <a:custGeom>
                <a:avLst/>
                <a:gdLst>
                  <a:gd name="connsiteX0" fmla="*/ 142178 w 235169"/>
                  <a:gd name="connsiteY0" fmla="*/ 177180 h 311281"/>
                  <a:gd name="connsiteX1" fmla="*/ 69335 w 235169"/>
                  <a:gd name="connsiteY1" fmla="*/ 177180 h 311281"/>
                  <a:gd name="connsiteX2" fmla="*/ 60424 w 235169"/>
                  <a:gd name="connsiteY2" fmla="*/ 186313 h 311281"/>
                  <a:gd name="connsiteX3" fmla="*/ 63098 w 235169"/>
                  <a:gd name="connsiteY3" fmla="*/ 215495 h 311281"/>
                  <a:gd name="connsiteX4" fmla="*/ 117229 w 235169"/>
                  <a:gd name="connsiteY4" fmla="*/ 255146 h 311281"/>
                  <a:gd name="connsiteX5" fmla="*/ 182053 w 235169"/>
                  <a:gd name="connsiteY5" fmla="*/ 229306 h 311281"/>
                  <a:gd name="connsiteX6" fmla="*/ 210343 w 235169"/>
                  <a:gd name="connsiteY6" fmla="*/ 228861 h 311281"/>
                  <a:gd name="connsiteX7" fmla="*/ 221036 w 235169"/>
                  <a:gd name="connsiteY7" fmla="*/ 238439 h 311281"/>
                  <a:gd name="connsiteX8" fmla="*/ 224377 w 235169"/>
                  <a:gd name="connsiteY8" fmla="*/ 264280 h 311281"/>
                  <a:gd name="connsiteX9" fmla="*/ 217249 w 235169"/>
                  <a:gd name="connsiteY9" fmla="*/ 272745 h 311281"/>
                  <a:gd name="connsiteX10" fmla="*/ 130595 w 235169"/>
                  <a:gd name="connsiteY10" fmla="*/ 311060 h 311281"/>
                  <a:gd name="connsiteX11" fmla="*/ 42158 w 235169"/>
                  <a:gd name="connsiteY11" fmla="*/ 285219 h 311281"/>
                  <a:gd name="connsiteX12" fmla="*/ 501 w 235169"/>
                  <a:gd name="connsiteY12" fmla="*/ 198565 h 311281"/>
                  <a:gd name="connsiteX13" fmla="*/ 501 w 235169"/>
                  <a:gd name="connsiteY13" fmla="*/ 114138 h 311281"/>
                  <a:gd name="connsiteX14" fmla="*/ 68444 w 235169"/>
                  <a:gd name="connsiteY14" fmla="*/ 8994 h 311281"/>
                  <a:gd name="connsiteX15" fmla="*/ 211457 w 235169"/>
                  <a:gd name="connsiteY15" fmla="*/ 44191 h 311281"/>
                  <a:gd name="connsiteX16" fmla="*/ 235070 w 235169"/>
                  <a:gd name="connsiteY16" fmla="*/ 113247 h 311281"/>
                  <a:gd name="connsiteX17" fmla="*/ 235070 w 235169"/>
                  <a:gd name="connsiteY17" fmla="*/ 156686 h 311281"/>
                  <a:gd name="connsiteX18" fmla="*/ 214576 w 235169"/>
                  <a:gd name="connsiteY18" fmla="*/ 177180 h 311281"/>
                  <a:gd name="connsiteX19" fmla="*/ 142178 w 235169"/>
                  <a:gd name="connsiteY19" fmla="*/ 177180 h 311281"/>
                  <a:gd name="connsiteX20" fmla="*/ 117674 w 235169"/>
                  <a:gd name="connsiteY20" fmla="*/ 127281 h 311281"/>
                  <a:gd name="connsiteX21" fmla="*/ 168241 w 235169"/>
                  <a:gd name="connsiteY21" fmla="*/ 127281 h 311281"/>
                  <a:gd name="connsiteX22" fmla="*/ 175815 w 235169"/>
                  <a:gd name="connsiteY22" fmla="*/ 119707 h 311281"/>
                  <a:gd name="connsiteX23" fmla="*/ 174701 w 235169"/>
                  <a:gd name="connsiteY23" fmla="*/ 104782 h 311281"/>
                  <a:gd name="connsiteX24" fmla="*/ 138837 w 235169"/>
                  <a:gd name="connsiteY24" fmla="*/ 59784 h 311281"/>
                  <a:gd name="connsiteX25" fmla="*/ 101413 w 235169"/>
                  <a:gd name="connsiteY25" fmla="*/ 58225 h 311281"/>
                  <a:gd name="connsiteX26" fmla="*/ 66662 w 235169"/>
                  <a:gd name="connsiteY26" fmla="*/ 85624 h 311281"/>
                  <a:gd name="connsiteX27" fmla="*/ 60202 w 235169"/>
                  <a:gd name="connsiteY27" fmla="*/ 119707 h 311281"/>
                  <a:gd name="connsiteX28" fmla="*/ 68221 w 235169"/>
                  <a:gd name="connsiteY28" fmla="*/ 127504 h 311281"/>
                  <a:gd name="connsiteX29" fmla="*/ 117674 w 235169"/>
                  <a:gd name="connsiteY29" fmla="*/ 127281 h 311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35169" h="311281">
                    <a:moveTo>
                      <a:pt x="142178" y="177180"/>
                    </a:moveTo>
                    <a:cubicBezTo>
                      <a:pt x="117897" y="177180"/>
                      <a:pt x="93616" y="177180"/>
                      <a:pt x="69335" y="177180"/>
                    </a:cubicBezTo>
                    <a:cubicBezTo>
                      <a:pt x="61761" y="177180"/>
                      <a:pt x="60424" y="178516"/>
                      <a:pt x="60424" y="186313"/>
                    </a:cubicBezTo>
                    <a:cubicBezTo>
                      <a:pt x="60424" y="196114"/>
                      <a:pt x="60202" y="205916"/>
                      <a:pt x="63098" y="215495"/>
                    </a:cubicBezTo>
                    <a:cubicBezTo>
                      <a:pt x="70449" y="240222"/>
                      <a:pt x="90052" y="253810"/>
                      <a:pt x="117229" y="255146"/>
                    </a:cubicBezTo>
                    <a:cubicBezTo>
                      <a:pt x="143069" y="256260"/>
                      <a:pt x="164232" y="247795"/>
                      <a:pt x="182053" y="229306"/>
                    </a:cubicBezTo>
                    <a:cubicBezTo>
                      <a:pt x="191186" y="219727"/>
                      <a:pt x="200542" y="219950"/>
                      <a:pt x="210343" y="228861"/>
                    </a:cubicBezTo>
                    <a:cubicBezTo>
                      <a:pt x="213908" y="231979"/>
                      <a:pt x="217472" y="235321"/>
                      <a:pt x="221036" y="238439"/>
                    </a:cubicBezTo>
                    <a:cubicBezTo>
                      <a:pt x="229278" y="246013"/>
                      <a:pt x="230615" y="254924"/>
                      <a:pt x="224377" y="264280"/>
                    </a:cubicBezTo>
                    <a:cubicBezTo>
                      <a:pt x="222373" y="267398"/>
                      <a:pt x="219922" y="270294"/>
                      <a:pt x="217249" y="272745"/>
                    </a:cubicBezTo>
                    <a:cubicBezTo>
                      <a:pt x="193191" y="296358"/>
                      <a:pt x="164454" y="309501"/>
                      <a:pt x="130595" y="311060"/>
                    </a:cubicBezTo>
                    <a:cubicBezTo>
                      <a:pt x="98071" y="312619"/>
                      <a:pt x="67998" y="306159"/>
                      <a:pt x="42158" y="285219"/>
                    </a:cubicBezTo>
                    <a:cubicBezTo>
                      <a:pt x="14758" y="262943"/>
                      <a:pt x="1392" y="233539"/>
                      <a:pt x="501" y="198565"/>
                    </a:cubicBezTo>
                    <a:cubicBezTo>
                      <a:pt x="-167" y="170497"/>
                      <a:pt x="-167" y="142206"/>
                      <a:pt x="501" y="114138"/>
                    </a:cubicBezTo>
                    <a:cubicBezTo>
                      <a:pt x="1615" y="66689"/>
                      <a:pt x="23891" y="26815"/>
                      <a:pt x="68444" y="8994"/>
                    </a:cubicBezTo>
                    <a:cubicBezTo>
                      <a:pt x="112551" y="-8604"/>
                      <a:pt x="176038" y="-2144"/>
                      <a:pt x="211457" y="44191"/>
                    </a:cubicBezTo>
                    <a:cubicBezTo>
                      <a:pt x="227051" y="64462"/>
                      <a:pt x="234625" y="87852"/>
                      <a:pt x="235070" y="113247"/>
                    </a:cubicBezTo>
                    <a:cubicBezTo>
                      <a:pt x="235293" y="127726"/>
                      <a:pt x="235070" y="142206"/>
                      <a:pt x="235070" y="156686"/>
                    </a:cubicBezTo>
                    <a:cubicBezTo>
                      <a:pt x="235070" y="170274"/>
                      <a:pt x="228164" y="177180"/>
                      <a:pt x="214576" y="177180"/>
                    </a:cubicBezTo>
                    <a:cubicBezTo>
                      <a:pt x="190740" y="177402"/>
                      <a:pt x="166459" y="177180"/>
                      <a:pt x="142178" y="177180"/>
                    </a:cubicBezTo>
                    <a:moveTo>
                      <a:pt x="117674" y="127281"/>
                    </a:moveTo>
                    <a:cubicBezTo>
                      <a:pt x="134604" y="127281"/>
                      <a:pt x="151311" y="127281"/>
                      <a:pt x="168241" y="127281"/>
                    </a:cubicBezTo>
                    <a:cubicBezTo>
                      <a:pt x="174033" y="127281"/>
                      <a:pt x="175593" y="125499"/>
                      <a:pt x="175815" y="119707"/>
                    </a:cubicBezTo>
                    <a:cubicBezTo>
                      <a:pt x="176038" y="114806"/>
                      <a:pt x="175815" y="109683"/>
                      <a:pt x="174701" y="104782"/>
                    </a:cubicBezTo>
                    <a:cubicBezTo>
                      <a:pt x="170469" y="83619"/>
                      <a:pt x="161113" y="66467"/>
                      <a:pt x="138837" y="59784"/>
                    </a:cubicBezTo>
                    <a:cubicBezTo>
                      <a:pt x="126585" y="56220"/>
                      <a:pt x="114110" y="56220"/>
                      <a:pt x="101413" y="58225"/>
                    </a:cubicBezTo>
                    <a:cubicBezTo>
                      <a:pt x="84705" y="60898"/>
                      <a:pt x="73345" y="70031"/>
                      <a:pt x="66662" y="85624"/>
                    </a:cubicBezTo>
                    <a:cubicBezTo>
                      <a:pt x="61984" y="96540"/>
                      <a:pt x="59979" y="107901"/>
                      <a:pt x="60202" y="119707"/>
                    </a:cubicBezTo>
                    <a:cubicBezTo>
                      <a:pt x="60424" y="125944"/>
                      <a:pt x="61761" y="127504"/>
                      <a:pt x="68221" y="127504"/>
                    </a:cubicBezTo>
                    <a:cubicBezTo>
                      <a:pt x="84928" y="127281"/>
                      <a:pt x="101413" y="127281"/>
                      <a:pt x="117674" y="127281"/>
                    </a:cubicBezTo>
                  </a:path>
                </a:pathLst>
              </a:custGeom>
              <a:grpFill/>
              <a:ln w="2224" cap="flat">
                <a:noFill/>
                <a:prstDash val="solid"/>
                <a:miter/>
              </a:ln>
            </p:spPr>
            <p:txBody>
              <a:bodyPr rtlCol="0" anchor="ctr"/>
              <a:lstStyle/>
              <a:p>
                <a:endParaRPr lang="nl-NL"/>
              </a:p>
            </p:txBody>
          </p:sp>
          <p:sp>
            <p:nvSpPr>
              <p:cNvPr id="21" name="Graphic 13">
                <a:extLst>
                  <a:ext uri="{FF2B5EF4-FFF2-40B4-BE49-F238E27FC236}">
                    <a16:creationId xmlns:a16="http://schemas.microsoft.com/office/drawing/2014/main" id="{70F7127A-D1D2-496B-8E4C-F945252778D3}"/>
                  </a:ext>
                </a:extLst>
              </p:cNvPr>
              <p:cNvSpPr/>
              <p:nvPr/>
            </p:nvSpPr>
            <p:spPr>
              <a:xfrm>
                <a:off x="2003393" y="1130406"/>
                <a:ext cx="235998" cy="311136"/>
              </a:xfrm>
              <a:custGeom>
                <a:avLst/>
                <a:gdLst>
                  <a:gd name="connsiteX0" fmla="*/ 143043 w 235998"/>
                  <a:gd name="connsiteY0" fmla="*/ 176908 h 311136"/>
                  <a:gd name="connsiteX1" fmla="*/ 69754 w 235998"/>
                  <a:gd name="connsiteY1" fmla="*/ 176908 h 311136"/>
                  <a:gd name="connsiteX2" fmla="*/ 60398 w 235998"/>
                  <a:gd name="connsiteY2" fmla="*/ 186264 h 311136"/>
                  <a:gd name="connsiteX3" fmla="*/ 62403 w 235998"/>
                  <a:gd name="connsiteY3" fmla="*/ 212773 h 311136"/>
                  <a:gd name="connsiteX4" fmla="*/ 112970 w 235998"/>
                  <a:gd name="connsiteY4" fmla="*/ 254430 h 311136"/>
                  <a:gd name="connsiteX5" fmla="*/ 182027 w 235998"/>
                  <a:gd name="connsiteY5" fmla="*/ 228812 h 311136"/>
                  <a:gd name="connsiteX6" fmla="*/ 209872 w 235998"/>
                  <a:gd name="connsiteY6" fmla="*/ 228144 h 311136"/>
                  <a:gd name="connsiteX7" fmla="*/ 220564 w 235998"/>
                  <a:gd name="connsiteY7" fmla="*/ 237722 h 311136"/>
                  <a:gd name="connsiteX8" fmla="*/ 223683 w 235998"/>
                  <a:gd name="connsiteY8" fmla="*/ 264899 h 311136"/>
                  <a:gd name="connsiteX9" fmla="*/ 200739 w 235998"/>
                  <a:gd name="connsiteY9" fmla="*/ 286507 h 311136"/>
                  <a:gd name="connsiteX10" fmla="*/ 44582 w 235998"/>
                  <a:gd name="connsiteY10" fmla="*/ 286953 h 311136"/>
                  <a:gd name="connsiteX11" fmla="*/ 921 w 235998"/>
                  <a:gd name="connsiteY11" fmla="*/ 201412 h 311136"/>
                  <a:gd name="connsiteX12" fmla="*/ 921 w 235998"/>
                  <a:gd name="connsiteY12" fmla="*/ 109634 h 311136"/>
                  <a:gd name="connsiteX13" fmla="*/ 103837 w 235998"/>
                  <a:gd name="connsiteY13" fmla="*/ 480 h 311136"/>
                  <a:gd name="connsiteX14" fmla="*/ 200293 w 235998"/>
                  <a:gd name="connsiteY14" fmla="*/ 31222 h 311136"/>
                  <a:gd name="connsiteX15" fmla="*/ 234599 w 235998"/>
                  <a:gd name="connsiteY15" fmla="*/ 100278 h 311136"/>
                  <a:gd name="connsiteX16" fmla="*/ 235712 w 235998"/>
                  <a:gd name="connsiteY16" fmla="*/ 158642 h 311136"/>
                  <a:gd name="connsiteX17" fmla="*/ 216555 w 235998"/>
                  <a:gd name="connsiteY17" fmla="*/ 176686 h 311136"/>
                  <a:gd name="connsiteX18" fmla="*/ 143043 w 235998"/>
                  <a:gd name="connsiteY18" fmla="*/ 176908 h 311136"/>
                  <a:gd name="connsiteX19" fmla="*/ 118094 w 235998"/>
                  <a:gd name="connsiteY19" fmla="*/ 127232 h 311136"/>
                  <a:gd name="connsiteX20" fmla="*/ 137474 w 235998"/>
                  <a:gd name="connsiteY20" fmla="*/ 127232 h 311136"/>
                  <a:gd name="connsiteX21" fmla="*/ 167547 w 235998"/>
                  <a:gd name="connsiteY21" fmla="*/ 127232 h 311136"/>
                  <a:gd name="connsiteX22" fmla="*/ 175789 w 235998"/>
                  <a:gd name="connsiteY22" fmla="*/ 118767 h 311136"/>
                  <a:gd name="connsiteX23" fmla="*/ 175567 w 235998"/>
                  <a:gd name="connsiteY23" fmla="*/ 109411 h 311136"/>
                  <a:gd name="connsiteX24" fmla="*/ 134133 w 235998"/>
                  <a:gd name="connsiteY24" fmla="*/ 58176 h 311136"/>
                  <a:gd name="connsiteX25" fmla="*/ 106956 w 235998"/>
                  <a:gd name="connsiteY25" fmla="*/ 57062 h 311136"/>
                  <a:gd name="connsiteX26" fmla="*/ 70868 w 235998"/>
                  <a:gd name="connsiteY26" fmla="*/ 77556 h 311136"/>
                  <a:gd name="connsiteX27" fmla="*/ 60398 w 235998"/>
                  <a:gd name="connsiteY27" fmla="*/ 117208 h 311136"/>
                  <a:gd name="connsiteX28" fmla="*/ 70423 w 235998"/>
                  <a:gd name="connsiteY28" fmla="*/ 127232 h 311136"/>
                  <a:gd name="connsiteX29" fmla="*/ 118094 w 235998"/>
                  <a:gd name="connsiteY29" fmla="*/ 127232 h 31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35998" h="311136">
                    <a:moveTo>
                      <a:pt x="143043" y="176908"/>
                    </a:moveTo>
                    <a:cubicBezTo>
                      <a:pt x="118539" y="176908"/>
                      <a:pt x="94035" y="176908"/>
                      <a:pt x="69754" y="176908"/>
                    </a:cubicBezTo>
                    <a:cubicBezTo>
                      <a:pt x="61735" y="176908"/>
                      <a:pt x="60621" y="178245"/>
                      <a:pt x="60398" y="186264"/>
                    </a:cubicBezTo>
                    <a:cubicBezTo>
                      <a:pt x="60398" y="195175"/>
                      <a:pt x="60176" y="204085"/>
                      <a:pt x="62403" y="212773"/>
                    </a:cubicBezTo>
                    <a:cubicBezTo>
                      <a:pt x="68641" y="237500"/>
                      <a:pt x="87130" y="252425"/>
                      <a:pt x="112970" y="254430"/>
                    </a:cubicBezTo>
                    <a:cubicBezTo>
                      <a:pt x="140147" y="256657"/>
                      <a:pt x="163315" y="248861"/>
                      <a:pt x="182027" y="228812"/>
                    </a:cubicBezTo>
                    <a:cubicBezTo>
                      <a:pt x="190937" y="219456"/>
                      <a:pt x="200293" y="219456"/>
                      <a:pt x="209872" y="228144"/>
                    </a:cubicBezTo>
                    <a:cubicBezTo>
                      <a:pt x="213436" y="231485"/>
                      <a:pt x="217000" y="234604"/>
                      <a:pt x="220564" y="237722"/>
                    </a:cubicBezTo>
                    <a:cubicBezTo>
                      <a:pt x="229475" y="245742"/>
                      <a:pt x="230589" y="254875"/>
                      <a:pt x="223683" y="264899"/>
                    </a:cubicBezTo>
                    <a:cubicBezTo>
                      <a:pt x="217446" y="273587"/>
                      <a:pt x="209204" y="280270"/>
                      <a:pt x="200739" y="286507"/>
                    </a:cubicBezTo>
                    <a:cubicBezTo>
                      <a:pt x="154850" y="321036"/>
                      <a:pt x="83566" y="317471"/>
                      <a:pt x="44582" y="286953"/>
                    </a:cubicBezTo>
                    <a:cubicBezTo>
                      <a:pt x="16960" y="265122"/>
                      <a:pt x="2257" y="236386"/>
                      <a:pt x="921" y="201412"/>
                    </a:cubicBezTo>
                    <a:cubicBezTo>
                      <a:pt x="-193" y="170894"/>
                      <a:pt x="-416" y="140375"/>
                      <a:pt x="921" y="109634"/>
                    </a:cubicBezTo>
                    <a:cubicBezTo>
                      <a:pt x="3594" y="42805"/>
                      <a:pt x="50151" y="4490"/>
                      <a:pt x="103837" y="480"/>
                    </a:cubicBezTo>
                    <a:cubicBezTo>
                      <a:pt x="140147" y="-2193"/>
                      <a:pt x="172893" y="6050"/>
                      <a:pt x="200293" y="31222"/>
                    </a:cubicBezTo>
                    <a:cubicBezTo>
                      <a:pt x="220342" y="49934"/>
                      <a:pt x="231034" y="73324"/>
                      <a:pt x="234599" y="100278"/>
                    </a:cubicBezTo>
                    <a:cubicBezTo>
                      <a:pt x="237049" y="119658"/>
                      <a:pt x="235490" y="139039"/>
                      <a:pt x="235712" y="158642"/>
                    </a:cubicBezTo>
                    <a:cubicBezTo>
                      <a:pt x="235712" y="169557"/>
                      <a:pt x="227916" y="176463"/>
                      <a:pt x="216555" y="176686"/>
                    </a:cubicBezTo>
                    <a:cubicBezTo>
                      <a:pt x="192051" y="176908"/>
                      <a:pt x="167547" y="176908"/>
                      <a:pt x="143043" y="176908"/>
                    </a:cubicBezTo>
                    <a:moveTo>
                      <a:pt x="118094" y="127232"/>
                    </a:moveTo>
                    <a:lnTo>
                      <a:pt x="137474" y="127232"/>
                    </a:lnTo>
                    <a:cubicBezTo>
                      <a:pt x="147498" y="127232"/>
                      <a:pt x="157523" y="127455"/>
                      <a:pt x="167547" y="127232"/>
                    </a:cubicBezTo>
                    <a:cubicBezTo>
                      <a:pt x="174007" y="127010"/>
                      <a:pt x="175567" y="125450"/>
                      <a:pt x="175789" y="118767"/>
                    </a:cubicBezTo>
                    <a:cubicBezTo>
                      <a:pt x="175789" y="115649"/>
                      <a:pt x="175789" y="112530"/>
                      <a:pt x="175567" y="109411"/>
                    </a:cubicBezTo>
                    <a:cubicBezTo>
                      <a:pt x="173339" y="87358"/>
                      <a:pt x="161978" y="63299"/>
                      <a:pt x="134133" y="58176"/>
                    </a:cubicBezTo>
                    <a:cubicBezTo>
                      <a:pt x="125222" y="56394"/>
                      <a:pt x="116089" y="55948"/>
                      <a:pt x="106956" y="57062"/>
                    </a:cubicBezTo>
                    <a:cubicBezTo>
                      <a:pt x="92031" y="58621"/>
                      <a:pt x="79110" y="63968"/>
                      <a:pt x="70868" y="77556"/>
                    </a:cubicBezTo>
                    <a:cubicBezTo>
                      <a:pt x="63517" y="89808"/>
                      <a:pt x="60398" y="103174"/>
                      <a:pt x="60398" y="117208"/>
                    </a:cubicBezTo>
                    <a:cubicBezTo>
                      <a:pt x="60398" y="125896"/>
                      <a:pt x="61512" y="127232"/>
                      <a:pt x="70423" y="127232"/>
                    </a:cubicBezTo>
                    <a:cubicBezTo>
                      <a:pt x="86239" y="127455"/>
                      <a:pt x="102278" y="127232"/>
                      <a:pt x="118094" y="127232"/>
                    </a:cubicBezTo>
                  </a:path>
                </a:pathLst>
              </a:custGeom>
              <a:grpFill/>
              <a:ln w="2224" cap="flat">
                <a:noFill/>
                <a:prstDash val="solid"/>
                <a:miter/>
              </a:ln>
            </p:spPr>
            <p:txBody>
              <a:bodyPr rtlCol="0" anchor="ctr"/>
              <a:lstStyle/>
              <a:p>
                <a:endParaRPr lang="nl-NL"/>
              </a:p>
            </p:txBody>
          </p:sp>
          <p:sp>
            <p:nvSpPr>
              <p:cNvPr id="22" name="Graphic 13">
                <a:extLst>
                  <a:ext uri="{FF2B5EF4-FFF2-40B4-BE49-F238E27FC236}">
                    <a16:creationId xmlns:a16="http://schemas.microsoft.com/office/drawing/2014/main" id="{2C7653FB-B562-4D92-AABC-AE78B3B9D24D}"/>
                  </a:ext>
                </a:extLst>
              </p:cNvPr>
              <p:cNvSpPr/>
              <p:nvPr/>
            </p:nvSpPr>
            <p:spPr>
              <a:xfrm>
                <a:off x="1173187" y="1140242"/>
                <a:ext cx="244231" cy="304070"/>
              </a:xfrm>
              <a:custGeom>
                <a:avLst/>
                <a:gdLst>
                  <a:gd name="connsiteX0" fmla="*/ 244148 w 244231"/>
                  <a:gd name="connsiteY0" fmla="*/ 180215 h 304070"/>
                  <a:gd name="connsiteX1" fmla="*/ 244148 w 244231"/>
                  <a:gd name="connsiteY1" fmla="*/ 77299 h 304070"/>
                  <a:gd name="connsiteX2" fmla="*/ 244148 w 244231"/>
                  <a:gd name="connsiteY2" fmla="*/ 55691 h 304070"/>
                  <a:gd name="connsiteX3" fmla="*/ 244148 w 244231"/>
                  <a:gd name="connsiteY3" fmla="*/ 21385 h 304070"/>
                  <a:gd name="connsiteX4" fmla="*/ 244148 w 244231"/>
                  <a:gd name="connsiteY4" fmla="*/ 20494 h 304070"/>
                  <a:gd name="connsiteX5" fmla="*/ 244148 w 244231"/>
                  <a:gd name="connsiteY5" fmla="*/ 20049 h 304070"/>
                  <a:gd name="connsiteX6" fmla="*/ 242143 w 244231"/>
                  <a:gd name="connsiteY6" fmla="*/ 9802 h 304070"/>
                  <a:gd name="connsiteX7" fmla="*/ 242143 w 244231"/>
                  <a:gd name="connsiteY7" fmla="*/ 9802 h 304070"/>
                  <a:gd name="connsiteX8" fmla="*/ 241697 w 244231"/>
                  <a:gd name="connsiteY8" fmla="*/ 8910 h 304070"/>
                  <a:gd name="connsiteX9" fmla="*/ 236128 w 244231"/>
                  <a:gd name="connsiteY9" fmla="*/ 2896 h 304070"/>
                  <a:gd name="connsiteX10" fmla="*/ 236128 w 244231"/>
                  <a:gd name="connsiteY10" fmla="*/ 2896 h 304070"/>
                  <a:gd name="connsiteX11" fmla="*/ 235683 w 244231"/>
                  <a:gd name="connsiteY11" fmla="*/ 2673 h 304070"/>
                  <a:gd name="connsiteX12" fmla="*/ 224099 w 244231"/>
                  <a:gd name="connsiteY12" fmla="*/ 0 h 304070"/>
                  <a:gd name="connsiteX13" fmla="*/ 222985 w 244231"/>
                  <a:gd name="connsiteY13" fmla="*/ 0 h 304070"/>
                  <a:gd name="connsiteX14" fmla="*/ 222762 w 244231"/>
                  <a:gd name="connsiteY14" fmla="*/ 0 h 304070"/>
                  <a:gd name="connsiteX15" fmla="*/ 213406 w 244231"/>
                  <a:gd name="connsiteY15" fmla="*/ 0 h 304070"/>
                  <a:gd name="connsiteX16" fmla="*/ 203828 w 244231"/>
                  <a:gd name="connsiteY16" fmla="*/ 0 h 304070"/>
                  <a:gd name="connsiteX17" fmla="*/ 203605 w 244231"/>
                  <a:gd name="connsiteY17" fmla="*/ 0 h 304070"/>
                  <a:gd name="connsiteX18" fmla="*/ 202937 w 244231"/>
                  <a:gd name="connsiteY18" fmla="*/ 0 h 304070"/>
                  <a:gd name="connsiteX19" fmla="*/ 192467 w 244231"/>
                  <a:gd name="connsiteY19" fmla="*/ 1782 h 304070"/>
                  <a:gd name="connsiteX20" fmla="*/ 192021 w 244231"/>
                  <a:gd name="connsiteY20" fmla="*/ 2005 h 304070"/>
                  <a:gd name="connsiteX21" fmla="*/ 191130 w 244231"/>
                  <a:gd name="connsiteY21" fmla="*/ 2450 h 304070"/>
                  <a:gd name="connsiteX22" fmla="*/ 190016 w 244231"/>
                  <a:gd name="connsiteY22" fmla="*/ 2896 h 304070"/>
                  <a:gd name="connsiteX23" fmla="*/ 190016 w 244231"/>
                  <a:gd name="connsiteY23" fmla="*/ 2896 h 304070"/>
                  <a:gd name="connsiteX24" fmla="*/ 187120 w 244231"/>
                  <a:gd name="connsiteY24" fmla="*/ 5124 h 304070"/>
                  <a:gd name="connsiteX25" fmla="*/ 181774 w 244231"/>
                  <a:gd name="connsiteY25" fmla="*/ 20940 h 304070"/>
                  <a:gd name="connsiteX26" fmla="*/ 181774 w 244231"/>
                  <a:gd name="connsiteY26" fmla="*/ 79749 h 304070"/>
                  <a:gd name="connsiteX27" fmla="*/ 181774 w 244231"/>
                  <a:gd name="connsiteY27" fmla="*/ 187120 h 304070"/>
                  <a:gd name="connsiteX28" fmla="*/ 181106 w 244231"/>
                  <a:gd name="connsiteY28" fmla="*/ 196254 h 304070"/>
                  <a:gd name="connsiteX29" fmla="*/ 180883 w 244231"/>
                  <a:gd name="connsiteY29" fmla="*/ 197145 h 304070"/>
                  <a:gd name="connsiteX30" fmla="*/ 175314 w 244231"/>
                  <a:gd name="connsiteY30" fmla="*/ 215634 h 304070"/>
                  <a:gd name="connsiteX31" fmla="*/ 162171 w 244231"/>
                  <a:gd name="connsiteY31" fmla="*/ 233901 h 304070"/>
                  <a:gd name="connsiteX32" fmla="*/ 149474 w 244231"/>
                  <a:gd name="connsiteY32" fmla="*/ 242588 h 304070"/>
                  <a:gd name="connsiteX33" fmla="*/ 148805 w 244231"/>
                  <a:gd name="connsiteY33" fmla="*/ 242811 h 304070"/>
                  <a:gd name="connsiteX34" fmla="*/ 124079 w 244231"/>
                  <a:gd name="connsiteY34" fmla="*/ 247712 h 304070"/>
                  <a:gd name="connsiteX35" fmla="*/ 122074 w 244231"/>
                  <a:gd name="connsiteY35" fmla="*/ 247712 h 304070"/>
                  <a:gd name="connsiteX36" fmla="*/ 120069 w 244231"/>
                  <a:gd name="connsiteY36" fmla="*/ 247712 h 304070"/>
                  <a:gd name="connsiteX37" fmla="*/ 95342 w 244231"/>
                  <a:gd name="connsiteY37" fmla="*/ 242811 h 304070"/>
                  <a:gd name="connsiteX38" fmla="*/ 94674 w 244231"/>
                  <a:gd name="connsiteY38" fmla="*/ 242588 h 304070"/>
                  <a:gd name="connsiteX39" fmla="*/ 81977 w 244231"/>
                  <a:gd name="connsiteY39" fmla="*/ 233901 h 304070"/>
                  <a:gd name="connsiteX40" fmla="*/ 68834 w 244231"/>
                  <a:gd name="connsiteY40" fmla="*/ 215634 h 304070"/>
                  <a:gd name="connsiteX41" fmla="*/ 63265 w 244231"/>
                  <a:gd name="connsiteY41" fmla="*/ 197145 h 304070"/>
                  <a:gd name="connsiteX42" fmla="*/ 63042 w 244231"/>
                  <a:gd name="connsiteY42" fmla="*/ 196254 h 304070"/>
                  <a:gd name="connsiteX43" fmla="*/ 62373 w 244231"/>
                  <a:gd name="connsiteY43" fmla="*/ 187120 h 304070"/>
                  <a:gd name="connsiteX44" fmla="*/ 62373 w 244231"/>
                  <a:gd name="connsiteY44" fmla="*/ 79749 h 304070"/>
                  <a:gd name="connsiteX45" fmla="*/ 62373 w 244231"/>
                  <a:gd name="connsiteY45" fmla="*/ 20940 h 304070"/>
                  <a:gd name="connsiteX46" fmla="*/ 57027 w 244231"/>
                  <a:gd name="connsiteY46" fmla="*/ 5124 h 304070"/>
                  <a:gd name="connsiteX47" fmla="*/ 54131 w 244231"/>
                  <a:gd name="connsiteY47" fmla="*/ 2896 h 304070"/>
                  <a:gd name="connsiteX48" fmla="*/ 54131 w 244231"/>
                  <a:gd name="connsiteY48" fmla="*/ 2896 h 304070"/>
                  <a:gd name="connsiteX49" fmla="*/ 53018 w 244231"/>
                  <a:gd name="connsiteY49" fmla="*/ 2450 h 304070"/>
                  <a:gd name="connsiteX50" fmla="*/ 52126 w 244231"/>
                  <a:gd name="connsiteY50" fmla="*/ 2005 h 304070"/>
                  <a:gd name="connsiteX51" fmla="*/ 51681 w 244231"/>
                  <a:gd name="connsiteY51" fmla="*/ 1782 h 304070"/>
                  <a:gd name="connsiteX52" fmla="*/ 41211 w 244231"/>
                  <a:gd name="connsiteY52" fmla="*/ 0 h 304070"/>
                  <a:gd name="connsiteX53" fmla="*/ 40543 w 244231"/>
                  <a:gd name="connsiteY53" fmla="*/ 0 h 304070"/>
                  <a:gd name="connsiteX54" fmla="*/ 40320 w 244231"/>
                  <a:gd name="connsiteY54" fmla="*/ 0 h 304070"/>
                  <a:gd name="connsiteX55" fmla="*/ 30741 w 244231"/>
                  <a:gd name="connsiteY55" fmla="*/ 0 h 304070"/>
                  <a:gd name="connsiteX56" fmla="*/ 21385 w 244231"/>
                  <a:gd name="connsiteY56" fmla="*/ 0 h 304070"/>
                  <a:gd name="connsiteX57" fmla="*/ 21162 w 244231"/>
                  <a:gd name="connsiteY57" fmla="*/ 0 h 304070"/>
                  <a:gd name="connsiteX58" fmla="*/ 20049 w 244231"/>
                  <a:gd name="connsiteY58" fmla="*/ 0 h 304070"/>
                  <a:gd name="connsiteX59" fmla="*/ 8465 w 244231"/>
                  <a:gd name="connsiteY59" fmla="*/ 2673 h 304070"/>
                  <a:gd name="connsiteX60" fmla="*/ 8019 w 244231"/>
                  <a:gd name="connsiteY60" fmla="*/ 2896 h 304070"/>
                  <a:gd name="connsiteX61" fmla="*/ 8019 w 244231"/>
                  <a:gd name="connsiteY61" fmla="*/ 2896 h 304070"/>
                  <a:gd name="connsiteX62" fmla="*/ 2450 w 244231"/>
                  <a:gd name="connsiteY62" fmla="*/ 8910 h 304070"/>
                  <a:gd name="connsiteX63" fmla="*/ 2005 w 244231"/>
                  <a:gd name="connsiteY63" fmla="*/ 9802 h 304070"/>
                  <a:gd name="connsiteX64" fmla="*/ 2005 w 244231"/>
                  <a:gd name="connsiteY64" fmla="*/ 9802 h 304070"/>
                  <a:gd name="connsiteX65" fmla="*/ 0 w 244231"/>
                  <a:gd name="connsiteY65" fmla="*/ 20049 h 304070"/>
                  <a:gd name="connsiteX66" fmla="*/ 0 w 244231"/>
                  <a:gd name="connsiteY66" fmla="*/ 20494 h 304070"/>
                  <a:gd name="connsiteX67" fmla="*/ 0 w 244231"/>
                  <a:gd name="connsiteY67" fmla="*/ 21385 h 304070"/>
                  <a:gd name="connsiteX68" fmla="*/ 0 w 244231"/>
                  <a:gd name="connsiteY68" fmla="*/ 55691 h 304070"/>
                  <a:gd name="connsiteX69" fmla="*/ 0 w 244231"/>
                  <a:gd name="connsiteY69" fmla="*/ 77299 h 304070"/>
                  <a:gd name="connsiteX70" fmla="*/ 0 w 244231"/>
                  <a:gd name="connsiteY70" fmla="*/ 180215 h 304070"/>
                  <a:gd name="connsiteX71" fmla="*/ 668 w 244231"/>
                  <a:gd name="connsiteY71" fmla="*/ 198481 h 304070"/>
                  <a:gd name="connsiteX72" fmla="*/ 2228 w 244231"/>
                  <a:gd name="connsiteY72" fmla="*/ 208728 h 304070"/>
                  <a:gd name="connsiteX73" fmla="*/ 100911 w 244231"/>
                  <a:gd name="connsiteY73" fmla="*/ 302734 h 304070"/>
                  <a:gd name="connsiteX74" fmla="*/ 102025 w 244231"/>
                  <a:gd name="connsiteY74" fmla="*/ 302957 h 304070"/>
                  <a:gd name="connsiteX75" fmla="*/ 104030 w 244231"/>
                  <a:gd name="connsiteY75" fmla="*/ 303180 h 304070"/>
                  <a:gd name="connsiteX76" fmla="*/ 104698 w 244231"/>
                  <a:gd name="connsiteY76" fmla="*/ 303180 h 304070"/>
                  <a:gd name="connsiteX77" fmla="*/ 117619 w 244231"/>
                  <a:gd name="connsiteY77" fmla="*/ 304071 h 304070"/>
                  <a:gd name="connsiteX78" fmla="*/ 120292 w 244231"/>
                  <a:gd name="connsiteY78" fmla="*/ 304071 h 304070"/>
                  <a:gd name="connsiteX79" fmla="*/ 120960 w 244231"/>
                  <a:gd name="connsiteY79" fmla="*/ 304071 h 304070"/>
                  <a:gd name="connsiteX80" fmla="*/ 122074 w 244231"/>
                  <a:gd name="connsiteY80" fmla="*/ 304071 h 304070"/>
                  <a:gd name="connsiteX81" fmla="*/ 123188 w 244231"/>
                  <a:gd name="connsiteY81" fmla="*/ 304071 h 304070"/>
                  <a:gd name="connsiteX82" fmla="*/ 123856 w 244231"/>
                  <a:gd name="connsiteY82" fmla="*/ 304071 h 304070"/>
                  <a:gd name="connsiteX83" fmla="*/ 126529 w 244231"/>
                  <a:gd name="connsiteY83" fmla="*/ 304071 h 304070"/>
                  <a:gd name="connsiteX84" fmla="*/ 139449 w 244231"/>
                  <a:gd name="connsiteY84" fmla="*/ 303180 h 304070"/>
                  <a:gd name="connsiteX85" fmla="*/ 140118 w 244231"/>
                  <a:gd name="connsiteY85" fmla="*/ 303180 h 304070"/>
                  <a:gd name="connsiteX86" fmla="*/ 142122 w 244231"/>
                  <a:gd name="connsiteY86" fmla="*/ 302957 h 304070"/>
                  <a:gd name="connsiteX87" fmla="*/ 143236 w 244231"/>
                  <a:gd name="connsiteY87" fmla="*/ 302734 h 304070"/>
                  <a:gd name="connsiteX88" fmla="*/ 241920 w 244231"/>
                  <a:gd name="connsiteY88" fmla="*/ 208728 h 304070"/>
                  <a:gd name="connsiteX89" fmla="*/ 243479 w 244231"/>
                  <a:gd name="connsiteY89" fmla="*/ 198481 h 304070"/>
                  <a:gd name="connsiteX90" fmla="*/ 244148 w 244231"/>
                  <a:gd name="connsiteY90" fmla="*/ 180215 h 30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Lst>
                <a:rect l="l" t="t" r="r" b="b"/>
                <a:pathLst>
                  <a:path w="244231" h="304070">
                    <a:moveTo>
                      <a:pt x="244148" y="180215"/>
                    </a:moveTo>
                    <a:cubicBezTo>
                      <a:pt x="244148" y="145909"/>
                      <a:pt x="244148" y="111604"/>
                      <a:pt x="244148" y="77299"/>
                    </a:cubicBezTo>
                    <a:cubicBezTo>
                      <a:pt x="244148" y="70170"/>
                      <a:pt x="244148" y="62819"/>
                      <a:pt x="244148" y="55691"/>
                    </a:cubicBezTo>
                    <a:cubicBezTo>
                      <a:pt x="244148" y="44330"/>
                      <a:pt x="244148" y="32746"/>
                      <a:pt x="244148" y="21385"/>
                    </a:cubicBezTo>
                    <a:cubicBezTo>
                      <a:pt x="244148" y="21162"/>
                      <a:pt x="244148" y="20717"/>
                      <a:pt x="244148" y="20494"/>
                    </a:cubicBezTo>
                    <a:cubicBezTo>
                      <a:pt x="244148" y="20271"/>
                      <a:pt x="244148" y="20049"/>
                      <a:pt x="244148" y="20049"/>
                    </a:cubicBezTo>
                    <a:cubicBezTo>
                      <a:pt x="244148" y="16039"/>
                      <a:pt x="243479" y="12475"/>
                      <a:pt x="242143" y="9802"/>
                    </a:cubicBezTo>
                    <a:cubicBezTo>
                      <a:pt x="242143" y="9802"/>
                      <a:pt x="242143" y="9802"/>
                      <a:pt x="242143" y="9802"/>
                    </a:cubicBezTo>
                    <a:cubicBezTo>
                      <a:pt x="241920" y="9579"/>
                      <a:pt x="241920" y="9133"/>
                      <a:pt x="241697" y="8910"/>
                    </a:cubicBezTo>
                    <a:cubicBezTo>
                      <a:pt x="240361" y="6237"/>
                      <a:pt x="238579" y="4233"/>
                      <a:pt x="236128" y="2896"/>
                    </a:cubicBezTo>
                    <a:cubicBezTo>
                      <a:pt x="236128" y="2896"/>
                      <a:pt x="236128" y="2896"/>
                      <a:pt x="236128" y="2896"/>
                    </a:cubicBezTo>
                    <a:cubicBezTo>
                      <a:pt x="235905" y="2896"/>
                      <a:pt x="235905" y="2673"/>
                      <a:pt x="235683" y="2673"/>
                    </a:cubicBezTo>
                    <a:cubicBezTo>
                      <a:pt x="232564" y="891"/>
                      <a:pt x="228777" y="0"/>
                      <a:pt x="224099" y="0"/>
                    </a:cubicBezTo>
                    <a:lnTo>
                      <a:pt x="222985" y="0"/>
                    </a:lnTo>
                    <a:cubicBezTo>
                      <a:pt x="222985" y="0"/>
                      <a:pt x="222762" y="0"/>
                      <a:pt x="222762" y="0"/>
                    </a:cubicBezTo>
                    <a:lnTo>
                      <a:pt x="213406" y="0"/>
                    </a:lnTo>
                    <a:lnTo>
                      <a:pt x="203828" y="0"/>
                    </a:lnTo>
                    <a:cubicBezTo>
                      <a:pt x="203828" y="0"/>
                      <a:pt x="203605" y="0"/>
                      <a:pt x="203605" y="0"/>
                    </a:cubicBezTo>
                    <a:lnTo>
                      <a:pt x="202937" y="0"/>
                    </a:lnTo>
                    <a:cubicBezTo>
                      <a:pt x="198927" y="0"/>
                      <a:pt x="195363" y="668"/>
                      <a:pt x="192467" y="1782"/>
                    </a:cubicBezTo>
                    <a:cubicBezTo>
                      <a:pt x="192244" y="1782"/>
                      <a:pt x="192244" y="1782"/>
                      <a:pt x="192021" y="2005"/>
                    </a:cubicBezTo>
                    <a:cubicBezTo>
                      <a:pt x="191798" y="2228"/>
                      <a:pt x="191576" y="2228"/>
                      <a:pt x="191130" y="2450"/>
                    </a:cubicBezTo>
                    <a:cubicBezTo>
                      <a:pt x="190685" y="2673"/>
                      <a:pt x="190462" y="2896"/>
                      <a:pt x="190016" y="2896"/>
                    </a:cubicBezTo>
                    <a:cubicBezTo>
                      <a:pt x="190016" y="2896"/>
                      <a:pt x="190016" y="2896"/>
                      <a:pt x="190016" y="2896"/>
                    </a:cubicBezTo>
                    <a:cubicBezTo>
                      <a:pt x="188903" y="3564"/>
                      <a:pt x="188012" y="4233"/>
                      <a:pt x="187120" y="5124"/>
                    </a:cubicBezTo>
                    <a:cubicBezTo>
                      <a:pt x="183556" y="8688"/>
                      <a:pt x="181774" y="13811"/>
                      <a:pt x="181774" y="20940"/>
                    </a:cubicBezTo>
                    <a:cubicBezTo>
                      <a:pt x="181774" y="40543"/>
                      <a:pt x="181774" y="60146"/>
                      <a:pt x="181774" y="79749"/>
                    </a:cubicBezTo>
                    <a:cubicBezTo>
                      <a:pt x="181774" y="115614"/>
                      <a:pt x="181997" y="151256"/>
                      <a:pt x="181774" y="187120"/>
                    </a:cubicBezTo>
                    <a:cubicBezTo>
                      <a:pt x="181774" y="190239"/>
                      <a:pt x="181551" y="193358"/>
                      <a:pt x="181106" y="196254"/>
                    </a:cubicBezTo>
                    <a:cubicBezTo>
                      <a:pt x="181106" y="196477"/>
                      <a:pt x="181106" y="196922"/>
                      <a:pt x="180883" y="197145"/>
                    </a:cubicBezTo>
                    <a:cubicBezTo>
                      <a:pt x="179547" y="203605"/>
                      <a:pt x="177987" y="209842"/>
                      <a:pt x="175314" y="215634"/>
                    </a:cubicBezTo>
                    <a:cubicBezTo>
                      <a:pt x="172195" y="222317"/>
                      <a:pt x="167740" y="228332"/>
                      <a:pt x="162171" y="233901"/>
                    </a:cubicBezTo>
                    <a:cubicBezTo>
                      <a:pt x="158384" y="237688"/>
                      <a:pt x="153929" y="240361"/>
                      <a:pt x="149474" y="242588"/>
                    </a:cubicBezTo>
                    <a:cubicBezTo>
                      <a:pt x="149251" y="242588"/>
                      <a:pt x="149028" y="242811"/>
                      <a:pt x="148805" y="242811"/>
                    </a:cubicBezTo>
                    <a:cubicBezTo>
                      <a:pt x="141231" y="246153"/>
                      <a:pt x="132766" y="247489"/>
                      <a:pt x="124079" y="247712"/>
                    </a:cubicBezTo>
                    <a:cubicBezTo>
                      <a:pt x="123410" y="247712"/>
                      <a:pt x="122742" y="247712"/>
                      <a:pt x="122074" y="247712"/>
                    </a:cubicBezTo>
                    <a:cubicBezTo>
                      <a:pt x="121406" y="247712"/>
                      <a:pt x="120737" y="247712"/>
                      <a:pt x="120069" y="247712"/>
                    </a:cubicBezTo>
                    <a:cubicBezTo>
                      <a:pt x="111381" y="247489"/>
                      <a:pt x="102916" y="246153"/>
                      <a:pt x="95342" y="242811"/>
                    </a:cubicBezTo>
                    <a:cubicBezTo>
                      <a:pt x="95120" y="242811"/>
                      <a:pt x="94897" y="242588"/>
                      <a:pt x="94674" y="242588"/>
                    </a:cubicBezTo>
                    <a:cubicBezTo>
                      <a:pt x="89996" y="240583"/>
                      <a:pt x="85764" y="237688"/>
                      <a:pt x="81977" y="233901"/>
                    </a:cubicBezTo>
                    <a:cubicBezTo>
                      <a:pt x="76408" y="228332"/>
                      <a:pt x="71952" y="222317"/>
                      <a:pt x="68834" y="215634"/>
                    </a:cubicBezTo>
                    <a:cubicBezTo>
                      <a:pt x="66383" y="209842"/>
                      <a:pt x="64601" y="203605"/>
                      <a:pt x="63265" y="197145"/>
                    </a:cubicBezTo>
                    <a:cubicBezTo>
                      <a:pt x="63265" y="196922"/>
                      <a:pt x="63265" y="196477"/>
                      <a:pt x="63042" y="196254"/>
                    </a:cubicBezTo>
                    <a:cubicBezTo>
                      <a:pt x="62596" y="193358"/>
                      <a:pt x="62373" y="190239"/>
                      <a:pt x="62373" y="187120"/>
                    </a:cubicBezTo>
                    <a:cubicBezTo>
                      <a:pt x="62151" y="151256"/>
                      <a:pt x="62373" y="115614"/>
                      <a:pt x="62373" y="79749"/>
                    </a:cubicBezTo>
                    <a:cubicBezTo>
                      <a:pt x="62373" y="60146"/>
                      <a:pt x="62373" y="40543"/>
                      <a:pt x="62373" y="20940"/>
                    </a:cubicBezTo>
                    <a:cubicBezTo>
                      <a:pt x="62373" y="14034"/>
                      <a:pt x="60591" y="8688"/>
                      <a:pt x="57027" y="5124"/>
                    </a:cubicBezTo>
                    <a:cubicBezTo>
                      <a:pt x="56136" y="4233"/>
                      <a:pt x="55245" y="3564"/>
                      <a:pt x="54131" y="2896"/>
                    </a:cubicBezTo>
                    <a:cubicBezTo>
                      <a:pt x="54131" y="2896"/>
                      <a:pt x="54131" y="2896"/>
                      <a:pt x="54131" y="2896"/>
                    </a:cubicBezTo>
                    <a:cubicBezTo>
                      <a:pt x="53909" y="2673"/>
                      <a:pt x="53463" y="2450"/>
                      <a:pt x="53018" y="2450"/>
                    </a:cubicBezTo>
                    <a:cubicBezTo>
                      <a:pt x="52795" y="2228"/>
                      <a:pt x="52572" y="2228"/>
                      <a:pt x="52126" y="2005"/>
                    </a:cubicBezTo>
                    <a:cubicBezTo>
                      <a:pt x="52126" y="2005"/>
                      <a:pt x="51904" y="2005"/>
                      <a:pt x="51681" y="1782"/>
                    </a:cubicBezTo>
                    <a:cubicBezTo>
                      <a:pt x="48785" y="446"/>
                      <a:pt x="45221" y="0"/>
                      <a:pt x="41211" y="0"/>
                    </a:cubicBezTo>
                    <a:lnTo>
                      <a:pt x="40543" y="0"/>
                    </a:lnTo>
                    <a:cubicBezTo>
                      <a:pt x="40543" y="0"/>
                      <a:pt x="40320" y="0"/>
                      <a:pt x="40320" y="0"/>
                    </a:cubicBezTo>
                    <a:lnTo>
                      <a:pt x="30741" y="0"/>
                    </a:lnTo>
                    <a:lnTo>
                      <a:pt x="21385" y="0"/>
                    </a:lnTo>
                    <a:cubicBezTo>
                      <a:pt x="21385" y="0"/>
                      <a:pt x="21162" y="0"/>
                      <a:pt x="21162" y="0"/>
                    </a:cubicBezTo>
                    <a:lnTo>
                      <a:pt x="20049" y="0"/>
                    </a:lnTo>
                    <a:cubicBezTo>
                      <a:pt x="15371" y="0"/>
                      <a:pt x="11361" y="891"/>
                      <a:pt x="8465" y="2673"/>
                    </a:cubicBezTo>
                    <a:cubicBezTo>
                      <a:pt x="8242" y="2673"/>
                      <a:pt x="8242" y="2896"/>
                      <a:pt x="8019" y="2896"/>
                    </a:cubicBezTo>
                    <a:cubicBezTo>
                      <a:pt x="8019" y="2896"/>
                      <a:pt x="8019" y="2896"/>
                      <a:pt x="8019" y="2896"/>
                    </a:cubicBezTo>
                    <a:cubicBezTo>
                      <a:pt x="5569" y="4455"/>
                      <a:pt x="3787" y="6460"/>
                      <a:pt x="2450" y="8910"/>
                    </a:cubicBezTo>
                    <a:cubicBezTo>
                      <a:pt x="2228" y="9133"/>
                      <a:pt x="2228" y="9579"/>
                      <a:pt x="2005" y="9802"/>
                    </a:cubicBezTo>
                    <a:cubicBezTo>
                      <a:pt x="2005" y="9802"/>
                      <a:pt x="2005" y="9802"/>
                      <a:pt x="2005" y="9802"/>
                    </a:cubicBezTo>
                    <a:cubicBezTo>
                      <a:pt x="668" y="12697"/>
                      <a:pt x="0" y="16039"/>
                      <a:pt x="0" y="20049"/>
                    </a:cubicBezTo>
                    <a:cubicBezTo>
                      <a:pt x="0" y="20271"/>
                      <a:pt x="0" y="20494"/>
                      <a:pt x="0" y="20494"/>
                    </a:cubicBezTo>
                    <a:cubicBezTo>
                      <a:pt x="0" y="20717"/>
                      <a:pt x="0" y="20940"/>
                      <a:pt x="0" y="21385"/>
                    </a:cubicBezTo>
                    <a:cubicBezTo>
                      <a:pt x="0" y="32746"/>
                      <a:pt x="0" y="44330"/>
                      <a:pt x="0" y="55691"/>
                    </a:cubicBezTo>
                    <a:cubicBezTo>
                      <a:pt x="0" y="62819"/>
                      <a:pt x="0" y="70170"/>
                      <a:pt x="0" y="77299"/>
                    </a:cubicBezTo>
                    <a:cubicBezTo>
                      <a:pt x="0" y="111604"/>
                      <a:pt x="0" y="145909"/>
                      <a:pt x="0" y="180215"/>
                    </a:cubicBezTo>
                    <a:cubicBezTo>
                      <a:pt x="0" y="186229"/>
                      <a:pt x="0" y="192467"/>
                      <a:pt x="668" y="198481"/>
                    </a:cubicBezTo>
                    <a:cubicBezTo>
                      <a:pt x="1114" y="202046"/>
                      <a:pt x="1559" y="205387"/>
                      <a:pt x="2228" y="208728"/>
                    </a:cubicBezTo>
                    <a:cubicBezTo>
                      <a:pt x="11138" y="259741"/>
                      <a:pt x="50790" y="296051"/>
                      <a:pt x="100911" y="302734"/>
                    </a:cubicBezTo>
                    <a:cubicBezTo>
                      <a:pt x="101357" y="302734"/>
                      <a:pt x="101580" y="302734"/>
                      <a:pt x="102025" y="302957"/>
                    </a:cubicBezTo>
                    <a:cubicBezTo>
                      <a:pt x="102694" y="302957"/>
                      <a:pt x="103362" y="303180"/>
                      <a:pt x="104030" y="303180"/>
                    </a:cubicBezTo>
                    <a:cubicBezTo>
                      <a:pt x="104253" y="303180"/>
                      <a:pt x="104476" y="303180"/>
                      <a:pt x="104698" y="303180"/>
                    </a:cubicBezTo>
                    <a:cubicBezTo>
                      <a:pt x="108931" y="303625"/>
                      <a:pt x="113163" y="303848"/>
                      <a:pt x="117619" y="304071"/>
                    </a:cubicBezTo>
                    <a:cubicBezTo>
                      <a:pt x="118510" y="304071"/>
                      <a:pt x="119401" y="304071"/>
                      <a:pt x="120292" y="304071"/>
                    </a:cubicBezTo>
                    <a:cubicBezTo>
                      <a:pt x="120515" y="304071"/>
                      <a:pt x="120737" y="304071"/>
                      <a:pt x="120960" y="304071"/>
                    </a:cubicBezTo>
                    <a:cubicBezTo>
                      <a:pt x="121406" y="304071"/>
                      <a:pt x="121628" y="304071"/>
                      <a:pt x="122074" y="304071"/>
                    </a:cubicBezTo>
                    <a:cubicBezTo>
                      <a:pt x="122519" y="304071"/>
                      <a:pt x="122742" y="304071"/>
                      <a:pt x="123188" y="304071"/>
                    </a:cubicBezTo>
                    <a:cubicBezTo>
                      <a:pt x="123410" y="304071"/>
                      <a:pt x="123633" y="304071"/>
                      <a:pt x="123856" y="304071"/>
                    </a:cubicBezTo>
                    <a:cubicBezTo>
                      <a:pt x="124747" y="304071"/>
                      <a:pt x="125638" y="304071"/>
                      <a:pt x="126529" y="304071"/>
                    </a:cubicBezTo>
                    <a:cubicBezTo>
                      <a:pt x="130984" y="304071"/>
                      <a:pt x="135217" y="303625"/>
                      <a:pt x="139449" y="303180"/>
                    </a:cubicBezTo>
                    <a:cubicBezTo>
                      <a:pt x="139672" y="303180"/>
                      <a:pt x="139895" y="303180"/>
                      <a:pt x="140118" y="303180"/>
                    </a:cubicBezTo>
                    <a:cubicBezTo>
                      <a:pt x="140786" y="303180"/>
                      <a:pt x="141454" y="302957"/>
                      <a:pt x="142122" y="302957"/>
                    </a:cubicBezTo>
                    <a:cubicBezTo>
                      <a:pt x="142568" y="302957"/>
                      <a:pt x="143014" y="302957"/>
                      <a:pt x="143236" y="302734"/>
                    </a:cubicBezTo>
                    <a:cubicBezTo>
                      <a:pt x="193358" y="296051"/>
                      <a:pt x="233010" y="259741"/>
                      <a:pt x="241920" y="208728"/>
                    </a:cubicBezTo>
                    <a:cubicBezTo>
                      <a:pt x="242588" y="205387"/>
                      <a:pt x="243034" y="202046"/>
                      <a:pt x="243479" y="198481"/>
                    </a:cubicBezTo>
                    <a:cubicBezTo>
                      <a:pt x="244148" y="192467"/>
                      <a:pt x="244370" y="186229"/>
                      <a:pt x="244148" y="180215"/>
                    </a:cubicBezTo>
                    <a:close/>
                  </a:path>
                </a:pathLst>
              </a:custGeom>
              <a:grpFill/>
              <a:ln w="2224" cap="flat">
                <a:noFill/>
                <a:prstDash val="solid"/>
                <a:miter/>
              </a:ln>
            </p:spPr>
            <p:txBody>
              <a:bodyPr rtlCol="0" anchor="ctr"/>
              <a:lstStyle/>
              <a:p>
                <a:endParaRPr lang="nl-NL"/>
              </a:p>
            </p:txBody>
          </p:sp>
          <p:sp>
            <p:nvSpPr>
              <p:cNvPr id="23" name="Graphic 13">
                <a:extLst>
                  <a:ext uri="{FF2B5EF4-FFF2-40B4-BE49-F238E27FC236}">
                    <a16:creationId xmlns:a16="http://schemas.microsoft.com/office/drawing/2014/main" id="{D9B21371-77D6-43B2-B38E-49978C03BDE3}"/>
                  </a:ext>
                </a:extLst>
              </p:cNvPr>
              <p:cNvSpPr/>
              <p:nvPr/>
            </p:nvSpPr>
            <p:spPr>
              <a:xfrm>
                <a:off x="610655" y="1130302"/>
                <a:ext cx="188725" cy="311338"/>
              </a:xfrm>
              <a:custGeom>
                <a:avLst/>
                <a:gdLst>
                  <a:gd name="connsiteX0" fmla="*/ 87157 w 188725"/>
                  <a:gd name="connsiteY0" fmla="*/ 311338 h 311338"/>
                  <a:gd name="connsiteX1" fmla="*/ 26788 w 188725"/>
                  <a:gd name="connsiteY1" fmla="*/ 297750 h 311338"/>
                  <a:gd name="connsiteX2" fmla="*/ 5403 w 188725"/>
                  <a:gd name="connsiteY2" fmla="*/ 280374 h 311338"/>
                  <a:gd name="connsiteX3" fmla="*/ 5626 w 188725"/>
                  <a:gd name="connsiteY3" fmla="*/ 252752 h 311338"/>
                  <a:gd name="connsiteX4" fmla="*/ 16987 w 188725"/>
                  <a:gd name="connsiteY4" fmla="*/ 238940 h 311338"/>
                  <a:gd name="connsiteX5" fmla="*/ 40822 w 188725"/>
                  <a:gd name="connsiteY5" fmla="*/ 235822 h 311338"/>
                  <a:gd name="connsiteX6" fmla="*/ 59757 w 188725"/>
                  <a:gd name="connsiteY6" fmla="*/ 248519 h 311338"/>
                  <a:gd name="connsiteX7" fmla="*/ 112329 w 188725"/>
                  <a:gd name="connsiteY7" fmla="*/ 249410 h 311338"/>
                  <a:gd name="connsiteX8" fmla="*/ 117453 w 188725"/>
                  <a:gd name="connsiteY8" fmla="*/ 203298 h 311338"/>
                  <a:gd name="connsiteX9" fmla="*/ 82925 w 188725"/>
                  <a:gd name="connsiteY9" fmla="*/ 182359 h 311338"/>
                  <a:gd name="connsiteX10" fmla="*/ 35031 w 188725"/>
                  <a:gd name="connsiteY10" fmla="*/ 152731 h 311338"/>
                  <a:gd name="connsiteX11" fmla="*/ 8076 w 188725"/>
                  <a:gd name="connsiteY11" fmla="*/ 65408 h 311338"/>
                  <a:gd name="connsiteX12" fmla="*/ 72009 w 188725"/>
                  <a:gd name="connsiteY12" fmla="*/ 3703 h 311338"/>
                  <a:gd name="connsiteX13" fmla="*/ 168243 w 188725"/>
                  <a:gd name="connsiteY13" fmla="*/ 22861 h 311338"/>
                  <a:gd name="connsiteX14" fmla="*/ 181386 w 188725"/>
                  <a:gd name="connsiteY14" fmla="*/ 39568 h 311338"/>
                  <a:gd name="connsiteX15" fmla="*/ 177376 w 188725"/>
                  <a:gd name="connsiteY15" fmla="*/ 57166 h 311338"/>
                  <a:gd name="connsiteX16" fmla="*/ 163119 w 188725"/>
                  <a:gd name="connsiteY16" fmla="*/ 72091 h 311338"/>
                  <a:gd name="connsiteX17" fmla="*/ 138170 w 188725"/>
                  <a:gd name="connsiteY17" fmla="*/ 72537 h 311338"/>
                  <a:gd name="connsiteX18" fmla="*/ 83147 w 188725"/>
                  <a:gd name="connsiteY18" fmla="*/ 59171 h 311338"/>
                  <a:gd name="connsiteX19" fmla="*/ 63544 w 188725"/>
                  <a:gd name="connsiteY19" fmla="*/ 80556 h 311338"/>
                  <a:gd name="connsiteX20" fmla="*/ 73123 w 188725"/>
                  <a:gd name="connsiteY20" fmla="*/ 108402 h 311338"/>
                  <a:gd name="connsiteX21" fmla="*/ 109656 w 188725"/>
                  <a:gd name="connsiteY21" fmla="*/ 129118 h 311338"/>
                  <a:gd name="connsiteX22" fmla="*/ 160669 w 188725"/>
                  <a:gd name="connsiteY22" fmla="*/ 160082 h 311338"/>
                  <a:gd name="connsiteX23" fmla="*/ 141957 w 188725"/>
                  <a:gd name="connsiteY23" fmla="*/ 298641 h 311338"/>
                  <a:gd name="connsiteX24" fmla="*/ 87157 w 188725"/>
                  <a:gd name="connsiteY24" fmla="*/ 311338 h 311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8725" h="311338">
                    <a:moveTo>
                      <a:pt x="87157" y="311338"/>
                    </a:moveTo>
                    <a:cubicBezTo>
                      <a:pt x="65326" y="310893"/>
                      <a:pt x="45055" y="308220"/>
                      <a:pt x="26788" y="297750"/>
                    </a:cubicBezTo>
                    <a:cubicBezTo>
                      <a:pt x="18769" y="293072"/>
                      <a:pt x="11418" y="287503"/>
                      <a:pt x="5403" y="280374"/>
                    </a:cubicBezTo>
                    <a:cubicBezTo>
                      <a:pt x="-1948" y="271686"/>
                      <a:pt x="-1725" y="261217"/>
                      <a:pt x="5626" y="252752"/>
                    </a:cubicBezTo>
                    <a:cubicBezTo>
                      <a:pt x="9413" y="248296"/>
                      <a:pt x="13200" y="243618"/>
                      <a:pt x="16987" y="238940"/>
                    </a:cubicBezTo>
                    <a:cubicBezTo>
                      <a:pt x="24115" y="230475"/>
                      <a:pt x="31689" y="229362"/>
                      <a:pt x="40822" y="235822"/>
                    </a:cubicBezTo>
                    <a:cubicBezTo>
                      <a:pt x="47060" y="240277"/>
                      <a:pt x="52852" y="245178"/>
                      <a:pt x="59757" y="248519"/>
                    </a:cubicBezTo>
                    <a:cubicBezTo>
                      <a:pt x="77133" y="256984"/>
                      <a:pt x="94954" y="257652"/>
                      <a:pt x="112329" y="249410"/>
                    </a:cubicBezTo>
                    <a:cubicBezTo>
                      <a:pt x="132378" y="240054"/>
                      <a:pt x="134605" y="217555"/>
                      <a:pt x="117453" y="203298"/>
                    </a:cubicBezTo>
                    <a:cubicBezTo>
                      <a:pt x="106983" y="194611"/>
                      <a:pt x="94954" y="188373"/>
                      <a:pt x="82925" y="182359"/>
                    </a:cubicBezTo>
                    <a:cubicBezTo>
                      <a:pt x="65995" y="173894"/>
                      <a:pt x="49287" y="165206"/>
                      <a:pt x="35031" y="152731"/>
                    </a:cubicBezTo>
                    <a:cubicBezTo>
                      <a:pt x="8076" y="129341"/>
                      <a:pt x="-389" y="99491"/>
                      <a:pt x="8076" y="65408"/>
                    </a:cubicBezTo>
                    <a:cubicBezTo>
                      <a:pt x="16319" y="31994"/>
                      <a:pt x="39263" y="11723"/>
                      <a:pt x="72009" y="3703"/>
                    </a:cubicBezTo>
                    <a:cubicBezTo>
                      <a:pt x="106760" y="-4985"/>
                      <a:pt x="139283" y="1698"/>
                      <a:pt x="168243" y="22861"/>
                    </a:cubicBezTo>
                    <a:cubicBezTo>
                      <a:pt x="174034" y="27093"/>
                      <a:pt x="179381" y="31994"/>
                      <a:pt x="181386" y="39568"/>
                    </a:cubicBezTo>
                    <a:cubicBezTo>
                      <a:pt x="183168" y="46251"/>
                      <a:pt x="182054" y="52043"/>
                      <a:pt x="177376" y="57166"/>
                    </a:cubicBezTo>
                    <a:cubicBezTo>
                      <a:pt x="172698" y="62290"/>
                      <a:pt x="168020" y="67191"/>
                      <a:pt x="163119" y="72091"/>
                    </a:cubicBezTo>
                    <a:cubicBezTo>
                      <a:pt x="154209" y="80779"/>
                      <a:pt x="147303" y="80779"/>
                      <a:pt x="138170" y="72537"/>
                    </a:cubicBezTo>
                    <a:cubicBezTo>
                      <a:pt x="122131" y="58280"/>
                      <a:pt x="103864" y="53379"/>
                      <a:pt x="83147" y="59171"/>
                    </a:cubicBezTo>
                    <a:cubicBezTo>
                      <a:pt x="72455" y="62067"/>
                      <a:pt x="65772" y="69641"/>
                      <a:pt x="63544" y="80556"/>
                    </a:cubicBezTo>
                    <a:cubicBezTo>
                      <a:pt x="61317" y="91472"/>
                      <a:pt x="63990" y="101050"/>
                      <a:pt x="73123" y="108402"/>
                    </a:cubicBezTo>
                    <a:cubicBezTo>
                      <a:pt x="84261" y="117312"/>
                      <a:pt x="96736" y="123549"/>
                      <a:pt x="109656" y="129118"/>
                    </a:cubicBezTo>
                    <a:cubicBezTo>
                      <a:pt x="127923" y="137361"/>
                      <a:pt x="145298" y="146939"/>
                      <a:pt x="160669" y="160082"/>
                    </a:cubicBezTo>
                    <a:cubicBezTo>
                      <a:pt x="204776" y="197507"/>
                      <a:pt x="195642" y="271018"/>
                      <a:pt x="141957" y="298641"/>
                    </a:cubicBezTo>
                    <a:cubicBezTo>
                      <a:pt x="124136" y="307551"/>
                      <a:pt x="105646" y="311338"/>
                      <a:pt x="87157" y="311338"/>
                    </a:cubicBezTo>
                  </a:path>
                </a:pathLst>
              </a:custGeom>
              <a:grpFill/>
              <a:ln w="2224" cap="flat">
                <a:noFill/>
                <a:prstDash val="solid"/>
                <a:miter/>
              </a:ln>
            </p:spPr>
            <p:txBody>
              <a:bodyPr rtlCol="0" anchor="ctr"/>
              <a:lstStyle/>
              <a:p>
                <a:endParaRPr lang="nl-NL"/>
              </a:p>
            </p:txBody>
          </p:sp>
          <p:sp>
            <p:nvSpPr>
              <p:cNvPr id="24" name="Graphic 13">
                <a:extLst>
                  <a:ext uri="{FF2B5EF4-FFF2-40B4-BE49-F238E27FC236}">
                    <a16:creationId xmlns:a16="http://schemas.microsoft.com/office/drawing/2014/main" id="{84B58869-E746-44B0-93BF-A0A497BD433E}"/>
                  </a:ext>
                </a:extLst>
              </p:cNvPr>
              <p:cNvSpPr/>
              <p:nvPr/>
            </p:nvSpPr>
            <p:spPr>
              <a:xfrm>
                <a:off x="1766651" y="1560036"/>
                <a:ext cx="188703" cy="310781"/>
              </a:xfrm>
              <a:custGeom>
                <a:avLst/>
                <a:gdLst>
                  <a:gd name="connsiteX0" fmla="*/ 99996 w 188703"/>
                  <a:gd name="connsiteY0" fmla="*/ 114 h 310781"/>
                  <a:gd name="connsiteX1" fmla="*/ 169052 w 188703"/>
                  <a:gd name="connsiteY1" fmla="*/ 23281 h 310781"/>
                  <a:gd name="connsiteX2" fmla="*/ 179076 w 188703"/>
                  <a:gd name="connsiteY2" fmla="*/ 33528 h 310781"/>
                  <a:gd name="connsiteX3" fmla="*/ 177294 w 188703"/>
                  <a:gd name="connsiteY3" fmla="*/ 56695 h 310781"/>
                  <a:gd name="connsiteX4" fmla="*/ 161032 w 188703"/>
                  <a:gd name="connsiteY4" fmla="*/ 73180 h 310781"/>
                  <a:gd name="connsiteX5" fmla="*/ 138979 w 188703"/>
                  <a:gd name="connsiteY5" fmla="*/ 72511 h 310781"/>
                  <a:gd name="connsiteX6" fmla="*/ 85516 w 188703"/>
                  <a:gd name="connsiteY6" fmla="*/ 57809 h 310781"/>
                  <a:gd name="connsiteX7" fmla="*/ 63685 w 188703"/>
                  <a:gd name="connsiteY7" fmla="*/ 78972 h 310781"/>
                  <a:gd name="connsiteX8" fmla="*/ 73932 w 188703"/>
                  <a:gd name="connsiteY8" fmla="*/ 108599 h 310781"/>
                  <a:gd name="connsiteX9" fmla="*/ 110020 w 188703"/>
                  <a:gd name="connsiteY9" fmla="*/ 128870 h 310781"/>
                  <a:gd name="connsiteX10" fmla="*/ 156800 w 188703"/>
                  <a:gd name="connsiteY10" fmla="*/ 156270 h 310781"/>
                  <a:gd name="connsiteX11" fmla="*/ 143657 w 188703"/>
                  <a:gd name="connsiteY11" fmla="*/ 297056 h 310781"/>
                  <a:gd name="connsiteX12" fmla="*/ 75492 w 188703"/>
                  <a:gd name="connsiteY12" fmla="*/ 310422 h 310781"/>
                  <a:gd name="connsiteX13" fmla="*/ 16905 w 188703"/>
                  <a:gd name="connsiteY13" fmla="*/ 291041 h 310781"/>
                  <a:gd name="connsiteX14" fmla="*/ 4876 w 188703"/>
                  <a:gd name="connsiteY14" fmla="*/ 279680 h 310781"/>
                  <a:gd name="connsiteX15" fmla="*/ 5322 w 188703"/>
                  <a:gd name="connsiteY15" fmla="*/ 252726 h 310781"/>
                  <a:gd name="connsiteX16" fmla="*/ 15791 w 188703"/>
                  <a:gd name="connsiteY16" fmla="*/ 239806 h 310781"/>
                  <a:gd name="connsiteX17" fmla="*/ 42523 w 188703"/>
                  <a:gd name="connsiteY17" fmla="*/ 236910 h 310781"/>
                  <a:gd name="connsiteX18" fmla="*/ 62126 w 188703"/>
                  <a:gd name="connsiteY18" fmla="*/ 249385 h 310781"/>
                  <a:gd name="connsiteX19" fmla="*/ 111579 w 188703"/>
                  <a:gd name="connsiteY19" fmla="*/ 249162 h 310781"/>
                  <a:gd name="connsiteX20" fmla="*/ 117594 w 188703"/>
                  <a:gd name="connsiteY20" fmla="*/ 203273 h 310781"/>
                  <a:gd name="connsiteX21" fmla="*/ 79279 w 188703"/>
                  <a:gd name="connsiteY21" fmla="*/ 180106 h 310781"/>
                  <a:gd name="connsiteX22" fmla="*/ 27152 w 188703"/>
                  <a:gd name="connsiteY22" fmla="*/ 144909 h 310781"/>
                  <a:gd name="connsiteX23" fmla="*/ 9777 w 188703"/>
                  <a:gd name="connsiteY23" fmla="*/ 58700 h 310781"/>
                  <a:gd name="connsiteX24" fmla="*/ 75714 w 188703"/>
                  <a:gd name="connsiteY24" fmla="*/ 2341 h 310781"/>
                  <a:gd name="connsiteX25" fmla="*/ 99996 w 188703"/>
                  <a:gd name="connsiteY25" fmla="*/ 114 h 310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8703" h="310781">
                    <a:moveTo>
                      <a:pt x="99996" y="114"/>
                    </a:moveTo>
                    <a:cubicBezTo>
                      <a:pt x="125613" y="-555"/>
                      <a:pt x="148335" y="8133"/>
                      <a:pt x="169052" y="23281"/>
                    </a:cubicBezTo>
                    <a:cubicBezTo>
                      <a:pt x="172839" y="26177"/>
                      <a:pt x="176626" y="29296"/>
                      <a:pt x="179076" y="33528"/>
                    </a:cubicBezTo>
                    <a:cubicBezTo>
                      <a:pt x="183532" y="41547"/>
                      <a:pt x="183309" y="50235"/>
                      <a:pt x="177294" y="56695"/>
                    </a:cubicBezTo>
                    <a:cubicBezTo>
                      <a:pt x="172171" y="62487"/>
                      <a:pt x="166824" y="68279"/>
                      <a:pt x="161032" y="73180"/>
                    </a:cubicBezTo>
                    <a:cubicBezTo>
                      <a:pt x="153013" y="80085"/>
                      <a:pt x="146776" y="79640"/>
                      <a:pt x="138979" y="72511"/>
                    </a:cubicBezTo>
                    <a:cubicBezTo>
                      <a:pt x="123608" y="58477"/>
                      <a:pt x="106010" y="53354"/>
                      <a:pt x="85516" y="57809"/>
                    </a:cubicBezTo>
                    <a:cubicBezTo>
                      <a:pt x="73932" y="60259"/>
                      <a:pt x="66581" y="67388"/>
                      <a:pt x="63685" y="78972"/>
                    </a:cubicBezTo>
                    <a:cubicBezTo>
                      <a:pt x="60567" y="91001"/>
                      <a:pt x="64131" y="101025"/>
                      <a:pt x="73932" y="108599"/>
                    </a:cubicBezTo>
                    <a:cubicBezTo>
                      <a:pt x="84848" y="117287"/>
                      <a:pt x="97322" y="123301"/>
                      <a:pt x="110020" y="128870"/>
                    </a:cubicBezTo>
                    <a:cubicBezTo>
                      <a:pt x="126727" y="136221"/>
                      <a:pt x="142320" y="145132"/>
                      <a:pt x="156800" y="156270"/>
                    </a:cubicBezTo>
                    <a:cubicBezTo>
                      <a:pt x="205585" y="194140"/>
                      <a:pt x="196229" y="268765"/>
                      <a:pt x="143657" y="297056"/>
                    </a:cubicBezTo>
                    <a:cubicBezTo>
                      <a:pt x="122272" y="308640"/>
                      <a:pt x="99550" y="311981"/>
                      <a:pt x="75492" y="310422"/>
                    </a:cubicBezTo>
                    <a:cubicBezTo>
                      <a:pt x="54106" y="309085"/>
                      <a:pt x="34281" y="303962"/>
                      <a:pt x="16905" y="291041"/>
                    </a:cubicBezTo>
                    <a:cubicBezTo>
                      <a:pt x="12450" y="287700"/>
                      <a:pt x="8440" y="283913"/>
                      <a:pt x="4876" y="279680"/>
                    </a:cubicBezTo>
                    <a:cubicBezTo>
                      <a:pt x="-1807" y="271438"/>
                      <a:pt x="-1584" y="260968"/>
                      <a:pt x="5322" y="252726"/>
                    </a:cubicBezTo>
                    <a:cubicBezTo>
                      <a:pt x="8886" y="248494"/>
                      <a:pt x="12450" y="244038"/>
                      <a:pt x="15791" y="239806"/>
                    </a:cubicBezTo>
                    <a:cubicBezTo>
                      <a:pt x="24256" y="229559"/>
                      <a:pt x="32053" y="228668"/>
                      <a:pt x="42523" y="236910"/>
                    </a:cubicBezTo>
                    <a:cubicBezTo>
                      <a:pt x="48760" y="241588"/>
                      <a:pt x="54998" y="246266"/>
                      <a:pt x="62126" y="249385"/>
                    </a:cubicBezTo>
                    <a:cubicBezTo>
                      <a:pt x="78610" y="256513"/>
                      <a:pt x="95318" y="256736"/>
                      <a:pt x="111579" y="249162"/>
                    </a:cubicBezTo>
                    <a:cubicBezTo>
                      <a:pt x="131851" y="239806"/>
                      <a:pt x="134524" y="217752"/>
                      <a:pt x="117594" y="203273"/>
                    </a:cubicBezTo>
                    <a:cubicBezTo>
                      <a:pt x="106010" y="193471"/>
                      <a:pt x="92644" y="186788"/>
                      <a:pt x="79279" y="180106"/>
                    </a:cubicBezTo>
                    <a:cubicBezTo>
                      <a:pt x="60344" y="170527"/>
                      <a:pt x="41855" y="160503"/>
                      <a:pt x="27152" y="144909"/>
                    </a:cubicBezTo>
                    <a:cubicBezTo>
                      <a:pt x="3985" y="119737"/>
                      <a:pt x="-693" y="90110"/>
                      <a:pt x="9777" y="58700"/>
                    </a:cubicBezTo>
                    <a:cubicBezTo>
                      <a:pt x="20247" y="27068"/>
                      <a:pt x="43859" y="9470"/>
                      <a:pt x="75714" y="2341"/>
                    </a:cubicBezTo>
                    <a:cubicBezTo>
                      <a:pt x="83511" y="559"/>
                      <a:pt x="91753" y="-332"/>
                      <a:pt x="99996" y="114"/>
                    </a:cubicBezTo>
                  </a:path>
                </a:pathLst>
              </a:custGeom>
              <a:grpFill/>
              <a:ln w="2224" cap="flat">
                <a:noFill/>
                <a:prstDash val="solid"/>
                <a:miter/>
              </a:ln>
            </p:spPr>
            <p:txBody>
              <a:bodyPr rtlCol="0" anchor="ctr"/>
              <a:lstStyle/>
              <a:p>
                <a:endParaRPr lang="nl-NL"/>
              </a:p>
            </p:txBody>
          </p:sp>
          <p:sp>
            <p:nvSpPr>
              <p:cNvPr id="25" name="Graphic 13">
                <a:extLst>
                  <a:ext uri="{FF2B5EF4-FFF2-40B4-BE49-F238E27FC236}">
                    <a16:creationId xmlns:a16="http://schemas.microsoft.com/office/drawing/2014/main" id="{20B2FB40-71E4-40E6-9F32-132265AE1FD8}"/>
                  </a:ext>
                </a:extLst>
              </p:cNvPr>
              <p:cNvSpPr/>
              <p:nvPr/>
            </p:nvSpPr>
            <p:spPr>
              <a:xfrm>
                <a:off x="1807515" y="1137089"/>
                <a:ext cx="149294" cy="297867"/>
              </a:xfrm>
              <a:custGeom>
                <a:avLst/>
                <a:gdLst>
                  <a:gd name="connsiteX0" fmla="*/ 322 w 149294"/>
                  <a:gd name="connsiteY0" fmla="*/ 189828 h 297867"/>
                  <a:gd name="connsiteX1" fmla="*/ 545 w 149294"/>
                  <a:gd name="connsiteY1" fmla="*/ 102505 h 297867"/>
                  <a:gd name="connsiteX2" fmla="*/ 33959 w 149294"/>
                  <a:gd name="connsiteY2" fmla="*/ 24761 h 297867"/>
                  <a:gd name="connsiteX3" fmla="*/ 100119 w 149294"/>
                  <a:gd name="connsiteY3" fmla="*/ 257 h 297867"/>
                  <a:gd name="connsiteX4" fmla="*/ 129524 w 149294"/>
                  <a:gd name="connsiteY4" fmla="*/ 257 h 297867"/>
                  <a:gd name="connsiteX5" fmla="*/ 149127 w 149294"/>
                  <a:gd name="connsiteY5" fmla="*/ 19415 h 297867"/>
                  <a:gd name="connsiteX6" fmla="*/ 149127 w 149294"/>
                  <a:gd name="connsiteY6" fmla="*/ 37236 h 297867"/>
                  <a:gd name="connsiteX7" fmla="*/ 129524 w 149294"/>
                  <a:gd name="connsiteY7" fmla="*/ 56616 h 297867"/>
                  <a:gd name="connsiteX8" fmla="*/ 109030 w 149294"/>
                  <a:gd name="connsiteY8" fmla="*/ 56616 h 297867"/>
                  <a:gd name="connsiteX9" fmla="*/ 61136 w 149294"/>
                  <a:gd name="connsiteY9" fmla="*/ 97382 h 297867"/>
                  <a:gd name="connsiteX10" fmla="*/ 59799 w 149294"/>
                  <a:gd name="connsiteY10" fmla="*/ 117208 h 297867"/>
                  <a:gd name="connsiteX11" fmla="*/ 59799 w 149294"/>
                  <a:gd name="connsiteY11" fmla="*/ 276260 h 297867"/>
                  <a:gd name="connsiteX12" fmla="*/ 38191 w 149294"/>
                  <a:gd name="connsiteY12" fmla="*/ 297868 h 297867"/>
                  <a:gd name="connsiteX13" fmla="*/ 20370 w 149294"/>
                  <a:gd name="connsiteY13" fmla="*/ 297868 h 297867"/>
                  <a:gd name="connsiteX14" fmla="*/ 99 w 149294"/>
                  <a:gd name="connsiteY14" fmla="*/ 278042 h 297867"/>
                  <a:gd name="connsiteX15" fmla="*/ 99 w 149294"/>
                  <a:gd name="connsiteY15" fmla="*/ 246855 h 297867"/>
                  <a:gd name="connsiteX16" fmla="*/ 99 w 149294"/>
                  <a:gd name="connsiteY16" fmla="*/ 189605 h 297867"/>
                  <a:gd name="connsiteX17" fmla="*/ 322 w 149294"/>
                  <a:gd name="connsiteY17" fmla="*/ 189605 h 297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9294" h="297867">
                    <a:moveTo>
                      <a:pt x="322" y="189828"/>
                    </a:moveTo>
                    <a:cubicBezTo>
                      <a:pt x="322" y="160646"/>
                      <a:pt x="-347" y="131687"/>
                      <a:pt x="545" y="102505"/>
                    </a:cubicBezTo>
                    <a:cubicBezTo>
                      <a:pt x="1213" y="72432"/>
                      <a:pt x="11237" y="45478"/>
                      <a:pt x="33959" y="24761"/>
                    </a:cubicBezTo>
                    <a:cubicBezTo>
                      <a:pt x="52671" y="7608"/>
                      <a:pt x="75393" y="1148"/>
                      <a:pt x="100119" y="257"/>
                    </a:cubicBezTo>
                    <a:cubicBezTo>
                      <a:pt x="109921" y="-188"/>
                      <a:pt x="119723" y="34"/>
                      <a:pt x="129524" y="257"/>
                    </a:cubicBezTo>
                    <a:cubicBezTo>
                      <a:pt x="141776" y="257"/>
                      <a:pt x="148904" y="7163"/>
                      <a:pt x="149127" y="19415"/>
                    </a:cubicBezTo>
                    <a:cubicBezTo>
                      <a:pt x="149350" y="25429"/>
                      <a:pt x="149350" y="31221"/>
                      <a:pt x="149127" y="37236"/>
                    </a:cubicBezTo>
                    <a:cubicBezTo>
                      <a:pt x="148682" y="49488"/>
                      <a:pt x="141999" y="56393"/>
                      <a:pt x="129524" y="56616"/>
                    </a:cubicBezTo>
                    <a:cubicBezTo>
                      <a:pt x="122618" y="56839"/>
                      <a:pt x="115713" y="56616"/>
                      <a:pt x="109030" y="56616"/>
                    </a:cubicBezTo>
                    <a:cubicBezTo>
                      <a:pt x="82521" y="56616"/>
                      <a:pt x="65591" y="71096"/>
                      <a:pt x="61136" y="97382"/>
                    </a:cubicBezTo>
                    <a:cubicBezTo>
                      <a:pt x="60022" y="104065"/>
                      <a:pt x="59799" y="110747"/>
                      <a:pt x="59799" y="117208"/>
                    </a:cubicBezTo>
                    <a:cubicBezTo>
                      <a:pt x="59799" y="170225"/>
                      <a:pt x="59799" y="223242"/>
                      <a:pt x="59799" y="276260"/>
                    </a:cubicBezTo>
                    <a:cubicBezTo>
                      <a:pt x="59799" y="291408"/>
                      <a:pt x="53116" y="297868"/>
                      <a:pt x="38191" y="297868"/>
                    </a:cubicBezTo>
                    <a:cubicBezTo>
                      <a:pt x="32177" y="297868"/>
                      <a:pt x="26385" y="297868"/>
                      <a:pt x="20370" y="297868"/>
                    </a:cubicBezTo>
                    <a:cubicBezTo>
                      <a:pt x="7673" y="297868"/>
                      <a:pt x="322" y="290962"/>
                      <a:pt x="99" y="278042"/>
                    </a:cubicBezTo>
                    <a:cubicBezTo>
                      <a:pt x="-124" y="267572"/>
                      <a:pt x="99" y="257325"/>
                      <a:pt x="99" y="246855"/>
                    </a:cubicBezTo>
                    <a:lnTo>
                      <a:pt x="99" y="189605"/>
                    </a:lnTo>
                    <a:lnTo>
                      <a:pt x="322" y="189605"/>
                    </a:lnTo>
                    <a:close/>
                  </a:path>
                </a:pathLst>
              </a:custGeom>
              <a:grpFill/>
              <a:ln w="2224" cap="flat">
                <a:noFill/>
                <a:prstDash val="solid"/>
                <a:miter/>
              </a:ln>
            </p:spPr>
            <p:txBody>
              <a:bodyPr rtlCol="0" anchor="ctr"/>
              <a:lstStyle/>
              <a:p>
                <a:endParaRPr lang="nl-NL"/>
              </a:p>
            </p:txBody>
          </p:sp>
          <p:sp>
            <p:nvSpPr>
              <p:cNvPr id="26" name="Graphic 13">
                <a:extLst>
                  <a:ext uri="{FF2B5EF4-FFF2-40B4-BE49-F238E27FC236}">
                    <a16:creationId xmlns:a16="http://schemas.microsoft.com/office/drawing/2014/main" id="{D680FCC1-8AE0-4FA3-AA3B-A7B3AC83526A}"/>
                  </a:ext>
                </a:extLst>
              </p:cNvPr>
              <p:cNvSpPr/>
              <p:nvPr/>
            </p:nvSpPr>
            <p:spPr>
              <a:xfrm>
                <a:off x="1646334" y="1566610"/>
                <a:ext cx="59923" cy="298155"/>
              </a:xfrm>
              <a:custGeom>
                <a:avLst/>
                <a:gdLst>
                  <a:gd name="connsiteX0" fmla="*/ 59923 w 59923"/>
                  <a:gd name="connsiteY0" fmla="*/ 149251 h 298155"/>
                  <a:gd name="connsiteX1" fmla="*/ 59923 w 59923"/>
                  <a:gd name="connsiteY1" fmla="*/ 274889 h 298155"/>
                  <a:gd name="connsiteX2" fmla="*/ 36533 w 59923"/>
                  <a:gd name="connsiteY2" fmla="*/ 298056 h 298155"/>
                  <a:gd name="connsiteX3" fmla="*/ 19826 w 59923"/>
                  <a:gd name="connsiteY3" fmla="*/ 298056 h 298155"/>
                  <a:gd name="connsiteX4" fmla="*/ 0 w 59923"/>
                  <a:gd name="connsiteY4" fmla="*/ 277785 h 298155"/>
                  <a:gd name="connsiteX5" fmla="*/ 0 w 59923"/>
                  <a:gd name="connsiteY5" fmla="*/ 244370 h 298155"/>
                  <a:gd name="connsiteX6" fmla="*/ 0 w 59923"/>
                  <a:gd name="connsiteY6" fmla="*/ 22053 h 298155"/>
                  <a:gd name="connsiteX7" fmla="*/ 21831 w 59923"/>
                  <a:gd name="connsiteY7" fmla="*/ 0 h 298155"/>
                  <a:gd name="connsiteX8" fmla="*/ 38983 w 59923"/>
                  <a:gd name="connsiteY8" fmla="*/ 0 h 298155"/>
                  <a:gd name="connsiteX9" fmla="*/ 59700 w 59923"/>
                  <a:gd name="connsiteY9" fmla="*/ 20940 h 298155"/>
                  <a:gd name="connsiteX10" fmla="*/ 59700 w 59923"/>
                  <a:gd name="connsiteY10" fmla="*/ 71952 h 298155"/>
                  <a:gd name="connsiteX11" fmla="*/ 59700 w 59923"/>
                  <a:gd name="connsiteY11" fmla="*/ 149251 h 29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923" h="298155">
                    <a:moveTo>
                      <a:pt x="59923" y="149251"/>
                    </a:moveTo>
                    <a:cubicBezTo>
                      <a:pt x="59923" y="191130"/>
                      <a:pt x="59923" y="233009"/>
                      <a:pt x="59923" y="274889"/>
                    </a:cubicBezTo>
                    <a:cubicBezTo>
                      <a:pt x="59923" y="291596"/>
                      <a:pt x="53463" y="298056"/>
                      <a:pt x="36533" y="298056"/>
                    </a:cubicBezTo>
                    <a:cubicBezTo>
                      <a:pt x="30964" y="298056"/>
                      <a:pt x="25395" y="298279"/>
                      <a:pt x="19826" y="298056"/>
                    </a:cubicBezTo>
                    <a:cubicBezTo>
                      <a:pt x="7128" y="297833"/>
                      <a:pt x="0" y="290705"/>
                      <a:pt x="0" y="277785"/>
                    </a:cubicBezTo>
                    <a:cubicBezTo>
                      <a:pt x="0" y="266647"/>
                      <a:pt x="0" y="255509"/>
                      <a:pt x="0" y="244370"/>
                    </a:cubicBezTo>
                    <a:cubicBezTo>
                      <a:pt x="0" y="170190"/>
                      <a:pt x="0" y="96233"/>
                      <a:pt x="0" y="22053"/>
                    </a:cubicBezTo>
                    <a:cubicBezTo>
                      <a:pt x="0" y="6460"/>
                      <a:pt x="6460" y="0"/>
                      <a:pt x="21831" y="0"/>
                    </a:cubicBezTo>
                    <a:cubicBezTo>
                      <a:pt x="27623" y="0"/>
                      <a:pt x="33414" y="0"/>
                      <a:pt x="38983" y="0"/>
                    </a:cubicBezTo>
                    <a:cubicBezTo>
                      <a:pt x="52795" y="223"/>
                      <a:pt x="59700" y="7128"/>
                      <a:pt x="59700" y="20940"/>
                    </a:cubicBezTo>
                    <a:cubicBezTo>
                      <a:pt x="59700" y="37870"/>
                      <a:pt x="59700" y="55022"/>
                      <a:pt x="59700" y="71952"/>
                    </a:cubicBezTo>
                    <a:lnTo>
                      <a:pt x="59700" y="149251"/>
                    </a:lnTo>
                    <a:close/>
                  </a:path>
                </a:pathLst>
              </a:custGeom>
              <a:grpFill/>
              <a:ln w="2224" cap="flat">
                <a:noFill/>
                <a:prstDash val="solid"/>
                <a:miter/>
              </a:ln>
            </p:spPr>
            <p:txBody>
              <a:bodyPr rtlCol="0" anchor="ctr"/>
              <a:lstStyle/>
              <a:p>
                <a:endParaRPr lang="nl-NL"/>
              </a:p>
            </p:txBody>
          </p:sp>
        </p:grpSp>
      </p:grpSp>
    </p:spTree>
    <p:extLst>
      <p:ext uri="{BB962C8B-B14F-4D97-AF65-F5344CB8AC3E}">
        <p14:creationId xmlns:p14="http://schemas.microsoft.com/office/powerpoint/2010/main" val="2020770040"/>
      </p:ext>
    </p:extLst>
  </p:cSld>
  <p:clrMapOvr>
    <a:masterClrMapping/>
  </p:clrMapOvr>
  <p:transition spd="med"/>
  <p:hf sldNum="0" hdr="0" ft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met afbeelding">
    <p:spTree>
      <p:nvGrpSpPr>
        <p:cNvPr id="1" name=""/>
        <p:cNvGrpSpPr/>
        <p:nvPr/>
      </p:nvGrpSpPr>
      <p:grpSpPr>
        <a:xfrm>
          <a:off x="0" y="0"/>
          <a:ext cx="0" cy="0"/>
          <a:chOff x="0" y="0"/>
          <a:chExt cx="0" cy="0"/>
        </a:xfrm>
      </p:grpSpPr>
      <p:sp>
        <p:nvSpPr>
          <p:cNvPr id="14" name="Tijdelijke aanduiding voor afbeelding 13">
            <a:extLst>
              <a:ext uri="{FF2B5EF4-FFF2-40B4-BE49-F238E27FC236}">
                <a16:creationId xmlns:a16="http://schemas.microsoft.com/office/drawing/2014/main" id="{8A3A62D3-4B6E-4E04-A361-4119F85A1772}"/>
              </a:ext>
            </a:extLst>
          </p:cNvPr>
          <p:cNvSpPr>
            <a:spLocks noGrp="1"/>
          </p:cNvSpPr>
          <p:nvPr>
            <p:ph type="pic" sz="quarter" idx="13" hasCustomPrompt="1"/>
          </p:nvPr>
        </p:nvSpPr>
        <p:spPr>
          <a:xfrm>
            <a:off x="1209676" y="990887"/>
            <a:ext cx="23174324" cy="12725114"/>
          </a:xfrm>
          <a:custGeom>
            <a:avLst/>
            <a:gdLst>
              <a:gd name="connsiteX0" fmla="*/ 6362508 w 23174324"/>
              <a:gd name="connsiteY0" fmla="*/ 0 h 12725114"/>
              <a:gd name="connsiteX1" fmla="*/ 23174324 w 23174324"/>
              <a:gd name="connsiteY1" fmla="*/ 0 h 12725114"/>
              <a:gd name="connsiteX2" fmla="*/ 23174324 w 23174324"/>
              <a:gd name="connsiteY2" fmla="*/ 12725114 h 12725114"/>
              <a:gd name="connsiteX3" fmla="*/ 0 w 23174324"/>
              <a:gd name="connsiteY3" fmla="*/ 12725114 h 12725114"/>
              <a:gd name="connsiteX4" fmla="*/ 0 w 23174324"/>
              <a:gd name="connsiteY4" fmla="*/ 6362557 h 12725114"/>
              <a:gd name="connsiteX5" fmla="*/ 6362508 w 23174324"/>
              <a:gd name="connsiteY5" fmla="*/ 0 h 12725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174324" h="12725114">
                <a:moveTo>
                  <a:pt x="6362508" y="0"/>
                </a:moveTo>
                <a:lnTo>
                  <a:pt x="23174324" y="0"/>
                </a:lnTo>
                <a:lnTo>
                  <a:pt x="23174324" y="12725114"/>
                </a:lnTo>
                <a:lnTo>
                  <a:pt x="0" y="12725114"/>
                </a:lnTo>
                <a:lnTo>
                  <a:pt x="0" y="6362557"/>
                </a:lnTo>
                <a:cubicBezTo>
                  <a:pt x="0" y="2848613"/>
                  <a:pt x="2848642" y="0"/>
                  <a:pt x="6362508" y="0"/>
                </a:cubicBezTo>
                <a:close/>
              </a:path>
            </a:pathLst>
          </a:custGeom>
          <a:solidFill>
            <a:schemeClr val="accent6">
              <a:lumMod val="75000"/>
              <a:lumOff val="25000"/>
            </a:schemeClr>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tIns="972000" bIns="0" anchor="ctr" anchorCtr="0">
            <a:noAutofit/>
          </a:bodyPr>
          <a:lstStyle>
            <a:lvl1pPr algn="ctr">
              <a:defRPr sz="3000">
                <a:solidFill>
                  <a:schemeClr val="bg1">
                    <a:lumMod val="75000"/>
                  </a:schemeClr>
                </a:solidFill>
              </a:defRPr>
            </a:lvl1pPr>
          </a:lstStyle>
          <a:p>
            <a:r>
              <a:rPr lang="nl-NL"/>
              <a:t> Voeg afbeelding in via icoon</a:t>
            </a:r>
          </a:p>
        </p:txBody>
      </p:sp>
      <p:sp>
        <p:nvSpPr>
          <p:cNvPr id="25" name="Dianummer"/>
          <p:cNvSpPr txBox="1">
            <a:spLocks noGrp="1"/>
          </p:cNvSpPr>
          <p:nvPr>
            <p:ph type="sldNum" sz="quarter" idx="2"/>
          </p:nvPr>
        </p:nvSpPr>
        <p:spPr>
          <a:xfrm>
            <a:off x="23177500" y="13807440"/>
            <a:ext cx="811276" cy="441146"/>
          </a:xfrm>
          <a:prstGeom prst="rect">
            <a:avLst/>
          </a:prstGeom>
        </p:spPr>
        <p:txBody>
          <a:bodyPr/>
          <a:lstStyle>
            <a:lvl1pPr>
              <a:defRPr/>
            </a:lvl1pPr>
          </a:lstStyle>
          <a:p>
            <a:fld id="{86CB4B4D-7CA3-9044-876B-883B54F8677D}" type="slidenum">
              <a:rPr lang="nl-NL" smtClean="0"/>
              <a:pPr/>
              <a:t>‹nr.›</a:t>
            </a:fld>
            <a:endParaRPr lang="nl-NL"/>
          </a:p>
        </p:txBody>
      </p:sp>
      <p:sp>
        <p:nvSpPr>
          <p:cNvPr id="7" name="Naam presentatie">
            <a:extLst>
              <a:ext uri="{FF2B5EF4-FFF2-40B4-BE49-F238E27FC236}">
                <a16:creationId xmlns:a16="http://schemas.microsoft.com/office/drawing/2014/main" id="{1B8C3A00-D372-4BAB-9D2B-F42634B22C2E}"/>
              </a:ext>
            </a:extLst>
          </p:cNvPr>
          <p:cNvSpPr txBox="1">
            <a:spLocks noGrp="1"/>
          </p:cNvSpPr>
          <p:nvPr>
            <p:ph type="title" hasCustomPrompt="1"/>
          </p:nvPr>
        </p:nvSpPr>
        <p:spPr>
          <a:xfrm>
            <a:off x="3403600" y="5573485"/>
            <a:ext cx="18803256" cy="1284516"/>
          </a:xfrm>
          <a:prstGeom prst="rect">
            <a:avLst/>
          </a:prstGeom>
        </p:spPr>
        <p:txBody>
          <a:bodyPr anchor="ctr">
            <a:normAutofit/>
          </a:bodyPr>
          <a:lstStyle>
            <a:lvl1pPr algn="ctr">
              <a:defRPr sz="10000" spc="-232">
                <a:solidFill>
                  <a:schemeClr val="bg1"/>
                </a:solidFill>
                <a:effectLst>
                  <a:outerShdw blurRad="38100" dist="38100" dir="2700000" algn="tl">
                    <a:srgbClr val="000000">
                      <a:alpha val="43137"/>
                    </a:srgbClr>
                  </a:outerShdw>
                </a:effectLst>
              </a:defRPr>
            </a:lvl1pPr>
          </a:lstStyle>
          <a:p>
            <a:r>
              <a:rPr lang="nl-NL"/>
              <a:t>Titel</a:t>
            </a:r>
            <a:endParaRPr/>
          </a:p>
        </p:txBody>
      </p:sp>
      <p:sp>
        <p:nvSpPr>
          <p:cNvPr id="9" name="Tijdelijke aanduiding voor datum 3">
            <a:extLst>
              <a:ext uri="{FF2B5EF4-FFF2-40B4-BE49-F238E27FC236}">
                <a16:creationId xmlns:a16="http://schemas.microsoft.com/office/drawing/2014/main" id="{C1943052-78F7-4FF0-8E4A-B4D457C8C267}"/>
              </a:ext>
            </a:extLst>
          </p:cNvPr>
          <p:cNvSpPr>
            <a:spLocks noGrp="1"/>
          </p:cNvSpPr>
          <p:nvPr>
            <p:ph type="dt" sz="half" idx="11"/>
          </p:nvPr>
        </p:nvSpPr>
        <p:spPr>
          <a:xfrm>
            <a:off x="1712658" y="13807440"/>
            <a:ext cx="2456670" cy="441146"/>
          </a:xfrm>
        </p:spPr>
        <p:txBody>
          <a:bodyPr/>
          <a:lstStyle>
            <a:lvl1pPr>
              <a:defRPr sz="2200">
                <a:latin typeface="+mn-lt"/>
              </a:defRPr>
            </a:lvl1pPr>
          </a:lstStyle>
          <a:p>
            <a:fld id="{848C9476-A8F6-43D9-84F7-3E32148F6953}" type="datetimeFigureOut">
              <a:rPr lang="nl-NL" smtClean="0"/>
              <a:pPr/>
              <a:t>13-6-2023</a:t>
            </a:fld>
            <a:endParaRPr lang="nl-NL"/>
          </a:p>
        </p:txBody>
      </p:sp>
      <p:sp>
        <p:nvSpPr>
          <p:cNvPr id="10" name="Tijdelijke aanduiding voor voettekst 4">
            <a:extLst>
              <a:ext uri="{FF2B5EF4-FFF2-40B4-BE49-F238E27FC236}">
                <a16:creationId xmlns:a16="http://schemas.microsoft.com/office/drawing/2014/main" id="{38794968-E6ED-48F0-87E0-EC8FBF6B7AAD}"/>
              </a:ext>
            </a:extLst>
          </p:cNvPr>
          <p:cNvSpPr>
            <a:spLocks noGrp="1"/>
          </p:cNvSpPr>
          <p:nvPr>
            <p:ph type="ftr" sz="quarter" idx="12"/>
          </p:nvPr>
        </p:nvSpPr>
        <p:spPr>
          <a:xfrm>
            <a:off x="4425696" y="13807440"/>
            <a:ext cx="18498312" cy="441146"/>
          </a:xfrm>
          <a:prstGeom prst="rect">
            <a:avLst/>
          </a:prstGeom>
        </p:spPr>
        <p:txBody>
          <a:bodyPr/>
          <a:lstStyle>
            <a:lvl1pPr>
              <a:defRPr sz="2200">
                <a:latin typeface="+mn-lt"/>
              </a:defRPr>
            </a:lvl1pPr>
          </a:lstStyle>
          <a:p>
            <a:r>
              <a:rPr lang="nl-NL"/>
              <a:t>Hoofdstuktitel (Pas aan in voettekst &gt; invoegen &gt; Koptekst en voettekst</a:t>
            </a:r>
          </a:p>
        </p:txBody>
      </p:sp>
    </p:spTree>
    <p:extLst>
      <p:ext uri="{BB962C8B-B14F-4D97-AF65-F5344CB8AC3E}">
        <p14:creationId xmlns:p14="http://schemas.microsoft.com/office/powerpoint/2010/main" val="1616521301"/>
      </p:ext>
    </p:extLst>
  </p:cSld>
  <p:clrMapOvr>
    <a:masterClrMapping/>
  </p:clrMapOvr>
  <p:transition spd="med"/>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2.svg"/><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theme" Target="../theme/theme2.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2" Type="http://schemas.openxmlformats.org/officeDocument/2006/relationships/slideLayout" Target="../slideLayouts/slideLayout59.xml"/><Relationship Id="rId16" Type="http://schemas.openxmlformats.org/officeDocument/2006/relationships/image" Target="../media/image18.emf"/><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theme" Target="../theme/theme3.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Naam dia"/>
          <p:cNvSpPr txBox="1">
            <a:spLocks noGrp="1"/>
          </p:cNvSpPr>
          <p:nvPr>
            <p:ph type="title" hasCustomPrompt="1"/>
          </p:nvPr>
        </p:nvSpPr>
        <p:spPr>
          <a:xfrm>
            <a:off x="1712658" y="2516047"/>
            <a:ext cx="21464842" cy="152427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0" anchor="b">
            <a:normAutofit/>
          </a:bodyPr>
          <a:lstStyle/>
          <a:p>
            <a:r>
              <a:rPr lang="nl-NL"/>
              <a:t>Titel: Een leefwereld</a:t>
            </a:r>
            <a:endParaRPr/>
          </a:p>
        </p:txBody>
      </p:sp>
      <p:sp>
        <p:nvSpPr>
          <p:cNvPr id="3" name="Hoofdtekst - niveau één…"/>
          <p:cNvSpPr txBox="1">
            <a:spLocks noGrp="1"/>
          </p:cNvSpPr>
          <p:nvPr>
            <p:ph type="body" idx="1" hasCustomPrompt="1"/>
          </p:nvPr>
        </p:nvSpPr>
        <p:spPr>
          <a:xfrm>
            <a:off x="1712658" y="4746170"/>
            <a:ext cx="21464842" cy="775834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ormAutofit/>
          </a:bodyPr>
          <a:lstStyle/>
          <a:p>
            <a:pPr>
              <a:lnSpc>
                <a:spcPct val="120000"/>
              </a:lnSpc>
              <a:defRPr sz="2500">
                <a:latin typeface="Source Sans Pro Bold"/>
                <a:ea typeface="Source Sans Pro Bold"/>
                <a:cs typeface="Source Sans Pro Bold"/>
                <a:sym typeface="Source Sans Pro Bold"/>
              </a:defRPr>
            </a:pPr>
            <a:r>
              <a:rPr lang="nl-NL">
                <a:latin typeface="Source Sans Pro Regular"/>
                <a:ea typeface="Source Sans Pro Regular"/>
                <a:cs typeface="Source Sans Pro Regular"/>
                <a:sym typeface="Source Sans Pro Regular"/>
              </a:rPr>
              <a:t>Content</a:t>
            </a:r>
          </a:p>
        </p:txBody>
      </p:sp>
      <p:sp>
        <p:nvSpPr>
          <p:cNvPr id="4" name="Dianummer"/>
          <p:cNvSpPr txBox="1">
            <a:spLocks noGrp="1"/>
          </p:cNvSpPr>
          <p:nvPr>
            <p:ph type="sldNum" sz="quarter" idx="2"/>
          </p:nvPr>
        </p:nvSpPr>
        <p:spPr>
          <a:xfrm>
            <a:off x="23177500" y="12832528"/>
            <a:ext cx="811276" cy="441146"/>
          </a:xfrm>
          <a:prstGeom prst="rect">
            <a:avLst/>
          </a:prstGeom>
          <a:ln w="12700">
            <a:miter lim="400000"/>
          </a:ln>
        </p:spPr>
        <p:txBody>
          <a:bodyPr wrap="square" lIns="50800" tIns="50800" rIns="50800" bIns="50800" anchor="b">
            <a:spAutoFit/>
          </a:bodyPr>
          <a:lstStyle>
            <a:lvl1pPr algn="r" defTabSz="584200">
              <a:lnSpc>
                <a:spcPct val="100000"/>
              </a:lnSpc>
              <a:spcBef>
                <a:spcPts val="0"/>
              </a:spcBef>
              <a:defRPr sz="2200">
                <a:solidFill>
                  <a:schemeClr val="tx1"/>
                </a:solidFill>
                <a:latin typeface="+mn-lt"/>
                <a:ea typeface="Source Sans Pro" panose="020B0503030403020204" pitchFamily="34" charset="0"/>
              </a:defRPr>
            </a:lvl1pPr>
          </a:lstStyle>
          <a:p>
            <a:fld id="{86CB4B4D-7CA3-9044-876B-883B54F8677D}" type="slidenum">
              <a:rPr lang="nl-NL" smtClean="0"/>
              <a:pPr/>
              <a:t>‹nr.›</a:t>
            </a:fld>
            <a:endParaRPr lang="nl-NL"/>
          </a:p>
        </p:txBody>
      </p:sp>
      <p:sp>
        <p:nvSpPr>
          <p:cNvPr id="5" name="Tijdelijke aanduiding voor datum 4">
            <a:extLst>
              <a:ext uri="{FF2B5EF4-FFF2-40B4-BE49-F238E27FC236}">
                <a16:creationId xmlns:a16="http://schemas.microsoft.com/office/drawing/2014/main" id="{71765AD6-52EB-493E-9EA9-04B85164B76D}"/>
              </a:ext>
            </a:extLst>
          </p:cNvPr>
          <p:cNvSpPr>
            <a:spLocks noGrp="1"/>
          </p:cNvSpPr>
          <p:nvPr>
            <p:ph type="dt" sz="half" idx="2"/>
          </p:nvPr>
        </p:nvSpPr>
        <p:spPr>
          <a:xfrm>
            <a:off x="1712658" y="13807440"/>
            <a:ext cx="2456670" cy="441146"/>
          </a:xfrm>
          <a:prstGeom prst="rect">
            <a:avLst/>
          </a:prstGeom>
        </p:spPr>
        <p:txBody>
          <a:bodyPr vert="horz" lIns="91440" tIns="45720" rIns="91440" bIns="45720" rtlCol="0" anchor="ctr"/>
          <a:lstStyle>
            <a:lvl1pPr algn="l">
              <a:defRPr sz="2200">
                <a:solidFill>
                  <a:schemeClr val="tx1"/>
                </a:solidFill>
                <a:latin typeface="+mn-lt"/>
              </a:defRPr>
            </a:lvl1pPr>
          </a:lstStyle>
          <a:p>
            <a:fld id="{848C9476-A8F6-43D9-84F7-3E32148F6953}" type="datetimeFigureOut">
              <a:rPr lang="nl-NL" smtClean="0"/>
              <a:pPr/>
              <a:t>13-6-2023</a:t>
            </a:fld>
            <a:endParaRPr lang="nl-NL"/>
          </a:p>
        </p:txBody>
      </p:sp>
      <p:pic>
        <p:nvPicPr>
          <p:cNvPr id="9" name="Graphic 8">
            <a:extLst>
              <a:ext uri="{FF2B5EF4-FFF2-40B4-BE49-F238E27FC236}">
                <a16:creationId xmlns:a16="http://schemas.microsoft.com/office/drawing/2014/main" id="{B065CC45-6644-4CF9-99B3-3EEEDF8822AB}"/>
              </a:ext>
            </a:extLst>
          </p:cNvPr>
          <p:cNvPicPr>
            <a:picLocks noChangeAspect="1"/>
          </p:cNvPicPr>
          <p:nvPr userDrawn="1"/>
        </p:nvPicPr>
        <p:blipFill>
          <a:blip r:embed="rId47" cstate="print">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429523" y="389805"/>
            <a:ext cx="1284949" cy="584547"/>
          </a:xfrm>
          <a:prstGeom prst="rect">
            <a:avLst/>
          </a:prstGeom>
        </p:spPr>
      </p:pic>
      <p:sp>
        <p:nvSpPr>
          <p:cNvPr id="12" name="Tijdelijke aanduiding voor voettekst 4">
            <a:extLst>
              <a:ext uri="{FF2B5EF4-FFF2-40B4-BE49-F238E27FC236}">
                <a16:creationId xmlns:a16="http://schemas.microsoft.com/office/drawing/2014/main" id="{CCACDCA8-AD4E-4856-B695-4D8C3B59A2C8}"/>
              </a:ext>
            </a:extLst>
          </p:cNvPr>
          <p:cNvSpPr>
            <a:spLocks noGrp="1"/>
          </p:cNvSpPr>
          <p:nvPr>
            <p:ph type="ftr" sz="quarter" idx="3"/>
          </p:nvPr>
        </p:nvSpPr>
        <p:spPr>
          <a:xfrm>
            <a:off x="4425696" y="13807440"/>
            <a:ext cx="18498312" cy="441146"/>
          </a:xfrm>
          <a:prstGeom prst="rect">
            <a:avLst/>
          </a:prstGeom>
        </p:spPr>
        <p:txBody>
          <a:bodyPr/>
          <a:lstStyle>
            <a:lvl1pPr>
              <a:defRPr sz="2200">
                <a:latin typeface="+mn-lt"/>
              </a:defRPr>
            </a:lvl1pPr>
          </a:lstStyle>
          <a:p>
            <a:r>
              <a:rPr lang="nl-NL"/>
              <a:t>Voettekst</a:t>
            </a:r>
          </a:p>
        </p:txBody>
      </p:sp>
    </p:spTree>
  </p:cSld>
  <p:clrMap bg1="lt1" tx1="dk1" bg2="lt2" tx2="dk2" accent1="accent1" accent2="accent2" accent3="accent3" accent4="accent4" accent5="accent5" accent6="accent6" hlink="hlink" folHlink="folHlink"/>
  <p:sldLayoutIdLst>
    <p:sldLayoutId id="2147483664" r:id="rId1"/>
    <p:sldLayoutId id="2147483671" r:id="rId2"/>
    <p:sldLayoutId id="2147483665" r:id="rId3"/>
    <p:sldLayoutId id="2147483666" r:id="rId4"/>
    <p:sldLayoutId id="2147483649" r:id="rId5"/>
    <p:sldLayoutId id="2147483667" r:id="rId6"/>
    <p:sldLayoutId id="2147483668" r:id="rId7"/>
    <p:sldLayoutId id="2147483669" r:id="rId8"/>
    <p:sldLayoutId id="2147483670" r:id="rId9"/>
    <p:sldLayoutId id="2147483673" r:id="rId10"/>
    <p:sldLayoutId id="2147483674" r:id="rId11"/>
    <p:sldLayoutId id="2147483675" r:id="rId12"/>
    <p:sldLayoutId id="2147483676" r:id="rId13"/>
    <p:sldLayoutId id="2147483677" r:id="rId14"/>
    <p:sldLayoutId id="2147483678" r:id="rId15"/>
    <p:sldLayoutId id="2147483679" r:id="rId16"/>
    <p:sldLayoutId id="2147483695" r:id="rId17"/>
    <p:sldLayoutId id="2147483698" r:id="rId18"/>
    <p:sldLayoutId id="2147483680" r:id="rId19"/>
    <p:sldLayoutId id="2147483681" r:id="rId20"/>
    <p:sldLayoutId id="2147483699" r:id="rId21"/>
    <p:sldLayoutId id="2147483700" r:id="rId22"/>
    <p:sldLayoutId id="2147483682" r:id="rId23"/>
    <p:sldLayoutId id="2147483683" r:id="rId24"/>
    <p:sldLayoutId id="2147483685" r:id="rId25"/>
    <p:sldLayoutId id="2147483701" r:id="rId26"/>
    <p:sldLayoutId id="2147483702" r:id="rId27"/>
    <p:sldLayoutId id="2147483693" r:id="rId28"/>
    <p:sldLayoutId id="2147483686" r:id="rId29"/>
    <p:sldLayoutId id="2147483687" r:id="rId30"/>
    <p:sldLayoutId id="2147483704" r:id="rId31"/>
    <p:sldLayoutId id="2147483684" r:id="rId32"/>
    <p:sldLayoutId id="2147483688" r:id="rId33"/>
    <p:sldLayoutId id="2147483689" r:id="rId34"/>
    <p:sldLayoutId id="2147483692" r:id="rId35"/>
    <p:sldLayoutId id="2147483694" r:id="rId36"/>
    <p:sldLayoutId id="2147483672" r:id="rId37"/>
    <p:sldLayoutId id="2147483690" r:id="rId38"/>
    <p:sldLayoutId id="2147483707" r:id="rId39"/>
    <p:sldLayoutId id="2147483705" r:id="rId40"/>
    <p:sldLayoutId id="2147483708" r:id="rId41"/>
    <p:sldLayoutId id="2147483691" r:id="rId42"/>
    <p:sldLayoutId id="2147483706" r:id="rId43"/>
    <p:sldLayoutId id="2147483709" r:id="rId44"/>
    <p:sldLayoutId id="2147483710" r:id="rId45"/>
  </p:sldLayoutIdLst>
  <p:transition spd="med"/>
  <p:txStyles>
    <p:titleStyle>
      <a:lvl1pPr marL="0" marR="0" indent="0" algn="l" defTabSz="2438338" rtl="0" eaLnBrk="1" latinLnBrk="0" hangingPunct="1">
        <a:lnSpc>
          <a:spcPct val="80000"/>
        </a:lnSpc>
        <a:spcBef>
          <a:spcPts val="0"/>
        </a:spcBef>
        <a:spcAft>
          <a:spcPts val="0"/>
        </a:spcAft>
        <a:buClrTx/>
        <a:buSzTx/>
        <a:buFontTx/>
        <a:buNone/>
        <a:tabLst/>
        <a:defRPr sz="5400" b="1" i="0" u="none" strike="noStrike" cap="none" spc="-170" baseline="0">
          <a:solidFill>
            <a:srgbClr val="000000"/>
          </a:solidFill>
          <a:uFillTx/>
          <a:latin typeface="+mj-lt"/>
          <a:ea typeface="Source Sans Pro" panose="020B0503030403020204" pitchFamily="34" charset="0"/>
          <a:cs typeface="+mn-cs"/>
          <a:sym typeface="Helvetica Neue"/>
        </a:defRPr>
      </a:lvl1pPr>
      <a:lvl2pPr marL="0" marR="0" indent="0" algn="l" defTabSz="2438338" rtl="0" eaLnBrk="1" latinLnBrk="0" hangingPunct="1">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2pPr>
      <a:lvl3pPr marL="0" marR="0" indent="0" algn="l" defTabSz="2438338" rtl="0" eaLnBrk="1" latinLnBrk="0" hangingPunct="1">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3pPr>
      <a:lvl4pPr marL="0" marR="0" indent="0" algn="l" defTabSz="2438338" rtl="0" eaLnBrk="1" latinLnBrk="0" hangingPunct="1">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4pPr>
      <a:lvl5pPr marL="0" marR="0" indent="0" algn="l" defTabSz="2438338" rtl="0" eaLnBrk="1" latinLnBrk="0" hangingPunct="1">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5pPr>
      <a:lvl6pPr marL="0" marR="0" indent="0" algn="l" defTabSz="2438338" rtl="0" eaLnBrk="1" latinLnBrk="0" hangingPunct="1">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6pPr>
      <a:lvl7pPr marL="0" marR="0" indent="0" algn="l" defTabSz="2438338" rtl="0" eaLnBrk="1" latinLnBrk="0" hangingPunct="1">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7pPr>
      <a:lvl8pPr marL="0" marR="0" indent="0" algn="l" defTabSz="2438338" rtl="0" eaLnBrk="1" latinLnBrk="0" hangingPunct="1">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8pPr>
      <a:lvl9pPr marL="0" marR="0" indent="0" algn="l" defTabSz="2438338" rtl="0" eaLnBrk="1" latinLnBrk="0" hangingPunct="1">
        <a:lnSpc>
          <a:spcPct val="80000"/>
        </a:lnSpc>
        <a:spcBef>
          <a:spcPts val="0"/>
        </a:spcBef>
        <a:spcAft>
          <a:spcPts val="0"/>
        </a:spcAft>
        <a:buClrTx/>
        <a:buSzTx/>
        <a:buFontTx/>
        <a:buNone/>
        <a:tabLst/>
        <a:defRPr sz="8500" b="1" i="0" u="none" strike="noStrike" cap="none" spc="-170" baseline="0">
          <a:solidFill>
            <a:srgbClr val="000000"/>
          </a:solidFill>
          <a:uFillTx/>
          <a:latin typeface="+mn-lt"/>
          <a:ea typeface="+mn-ea"/>
          <a:cs typeface="+mn-cs"/>
          <a:sym typeface="Helvetica Neue"/>
        </a:defRPr>
      </a:lvl9pPr>
    </p:titleStyle>
    <p:bodyStyle>
      <a:lvl1pPr marL="0" marR="0" indent="0" algn="l" defTabSz="2438338" rtl="0" eaLnBrk="1" latinLnBrk="0" hangingPunct="1">
        <a:lnSpc>
          <a:spcPct val="150000"/>
        </a:lnSpc>
        <a:spcBef>
          <a:spcPts val="0"/>
        </a:spcBef>
        <a:spcAft>
          <a:spcPts val="0"/>
        </a:spcAft>
        <a:buClrTx/>
        <a:buSzPct val="123000"/>
        <a:buFontTx/>
        <a:buNone/>
        <a:tabLst/>
        <a:defRPr sz="2400" b="0" i="0" u="none" strike="noStrike" cap="none" spc="0" baseline="0">
          <a:solidFill>
            <a:srgbClr val="000000"/>
          </a:solidFill>
          <a:uFillTx/>
          <a:latin typeface="+mn-lt"/>
          <a:ea typeface="Source Sans Pro" panose="020B0503030403020204" pitchFamily="34" charset="0"/>
          <a:cs typeface="+mn-cs"/>
          <a:sym typeface="Helvetica Neue"/>
        </a:defRPr>
      </a:lvl1pPr>
      <a:lvl2pPr marL="609600" marR="0" indent="0" algn="l" defTabSz="2438338" rtl="0" eaLnBrk="1" latinLnBrk="0" hangingPunct="1">
        <a:lnSpc>
          <a:spcPct val="90000"/>
        </a:lnSpc>
        <a:spcBef>
          <a:spcPts val="4500"/>
        </a:spcBef>
        <a:spcAft>
          <a:spcPts val="0"/>
        </a:spcAft>
        <a:buClrTx/>
        <a:buSzPct val="123000"/>
        <a:buFontTx/>
        <a:buNone/>
        <a:tabLst/>
        <a:defRPr sz="2400" b="0" i="0" u="none" strike="noStrike" cap="none" spc="0" baseline="0">
          <a:solidFill>
            <a:srgbClr val="000000"/>
          </a:solidFill>
          <a:uFillTx/>
          <a:latin typeface="+mn-lt"/>
          <a:ea typeface="Source Sans Pro" panose="020B0503030403020204" pitchFamily="34" charset="0"/>
          <a:cs typeface="+mn-cs"/>
          <a:sym typeface="Helvetica Neue"/>
        </a:defRPr>
      </a:lvl2pPr>
      <a:lvl3pPr marL="1219200" marR="0" indent="0" algn="l" defTabSz="2438338" rtl="0" eaLnBrk="1" latinLnBrk="0" hangingPunct="1">
        <a:lnSpc>
          <a:spcPct val="90000"/>
        </a:lnSpc>
        <a:spcBef>
          <a:spcPts val="4500"/>
        </a:spcBef>
        <a:spcAft>
          <a:spcPts val="0"/>
        </a:spcAft>
        <a:buClrTx/>
        <a:buSzPct val="123000"/>
        <a:buFontTx/>
        <a:buNone/>
        <a:tabLst/>
        <a:defRPr sz="2400" b="0" i="0" u="none" strike="noStrike" cap="none" spc="0" baseline="0">
          <a:solidFill>
            <a:srgbClr val="000000"/>
          </a:solidFill>
          <a:uFillTx/>
          <a:latin typeface="+mn-lt"/>
          <a:ea typeface="Source Sans Pro" panose="020B0503030403020204" pitchFamily="34" charset="0"/>
          <a:cs typeface="+mn-cs"/>
          <a:sym typeface="Helvetica Neue"/>
        </a:defRPr>
      </a:lvl3pPr>
      <a:lvl4pPr marL="1828800" marR="0" indent="0" algn="l" defTabSz="2438338" rtl="0" eaLnBrk="1" latinLnBrk="0" hangingPunct="1">
        <a:lnSpc>
          <a:spcPct val="90000"/>
        </a:lnSpc>
        <a:spcBef>
          <a:spcPts val="4500"/>
        </a:spcBef>
        <a:spcAft>
          <a:spcPts val="0"/>
        </a:spcAft>
        <a:buClrTx/>
        <a:buSzPct val="123000"/>
        <a:buFontTx/>
        <a:buNone/>
        <a:tabLst/>
        <a:defRPr sz="2400" b="0" i="0" u="none" strike="noStrike" cap="none" spc="0" baseline="0">
          <a:solidFill>
            <a:srgbClr val="000000"/>
          </a:solidFill>
          <a:uFillTx/>
          <a:latin typeface="+mn-lt"/>
          <a:ea typeface="Source Sans Pro" panose="020B0503030403020204" pitchFamily="34" charset="0"/>
          <a:cs typeface="+mn-cs"/>
          <a:sym typeface="Helvetica Neue"/>
        </a:defRPr>
      </a:lvl4pPr>
      <a:lvl5pPr marL="2438400" marR="0" indent="0" algn="l" defTabSz="2438338" rtl="0" eaLnBrk="1" latinLnBrk="0" hangingPunct="1">
        <a:lnSpc>
          <a:spcPct val="90000"/>
        </a:lnSpc>
        <a:spcBef>
          <a:spcPts val="4500"/>
        </a:spcBef>
        <a:spcAft>
          <a:spcPts val="0"/>
        </a:spcAft>
        <a:buClrTx/>
        <a:buSzPct val="123000"/>
        <a:buFontTx/>
        <a:buNone/>
        <a:tabLst/>
        <a:defRPr sz="2400" b="0" i="0" u="none" strike="noStrike" cap="none" spc="0" baseline="0">
          <a:solidFill>
            <a:srgbClr val="000000"/>
          </a:solidFill>
          <a:uFillTx/>
          <a:latin typeface="+mn-lt"/>
          <a:ea typeface="Source Sans Pro" panose="020B0503030403020204" pitchFamily="34" charset="0"/>
          <a:cs typeface="+mn-cs"/>
          <a:sym typeface="Helvetica Neue"/>
        </a:defRPr>
      </a:lvl5pPr>
      <a:lvl6pPr marL="3657600" marR="0" indent="-609600" algn="l" defTabSz="2438338" rtl="0" eaLnBrk="1" latinLnBrk="0" hangingPunct="1">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6pPr>
      <a:lvl7pPr marL="4267200" marR="0" indent="-609600" algn="l" defTabSz="2438338" rtl="0" eaLnBrk="1" latinLnBrk="0" hangingPunct="1">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7pPr>
      <a:lvl8pPr marL="4876800" marR="0" indent="-609600" algn="l" defTabSz="2438338" rtl="0" eaLnBrk="1" latinLnBrk="0" hangingPunct="1">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8pPr>
      <a:lvl9pPr marL="5486400" marR="0" indent="-609600" algn="l" defTabSz="2438338" rtl="0" eaLnBrk="1" latinLnBrk="0" hangingPunct="1">
        <a:lnSpc>
          <a:spcPct val="90000"/>
        </a:lnSpc>
        <a:spcBef>
          <a:spcPts val="4500"/>
        </a:spcBef>
        <a:spcAft>
          <a:spcPts val="0"/>
        </a:spcAft>
        <a:buClrTx/>
        <a:buSzPct val="123000"/>
        <a:buFontTx/>
        <a:buChar char="•"/>
        <a:tabLst/>
        <a:defRPr sz="4800" b="0" i="0" u="none" strike="noStrike" cap="none" spc="0" baseline="0">
          <a:solidFill>
            <a:srgbClr val="000000"/>
          </a:solidFill>
          <a:uFillTx/>
          <a:latin typeface="+mn-lt"/>
          <a:ea typeface="+mn-ea"/>
          <a:cs typeface="+mn-cs"/>
          <a:sym typeface="Helvetica Neue"/>
        </a:defRPr>
      </a:lvl9pPr>
    </p:bodyStyle>
    <p:otherStyle>
      <a:lvl1pPr marL="0" marR="0" indent="0" algn="ctr" defTabSz="584200" rtl="0" eaLnBrk="1" latinLnBrk="0" hangingPunct="1">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1pPr>
      <a:lvl2pPr marL="0" marR="0" indent="0" algn="ctr" defTabSz="584200" rtl="0" eaLnBrk="1" latinLnBrk="0" hangingPunct="1">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2pPr>
      <a:lvl3pPr marL="0" marR="0" indent="0" algn="ctr" defTabSz="584200" rtl="0" eaLnBrk="1" latinLnBrk="0" hangingPunct="1">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3pPr>
      <a:lvl4pPr marL="0" marR="0" indent="0" algn="ctr" defTabSz="584200" rtl="0" eaLnBrk="1" latinLnBrk="0" hangingPunct="1">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4pPr>
      <a:lvl5pPr marL="0" marR="0" indent="0" algn="ctr" defTabSz="584200" rtl="0" eaLnBrk="1" latinLnBrk="0" hangingPunct="1">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5pPr>
      <a:lvl6pPr marL="0" marR="0" indent="0" algn="ctr" defTabSz="584200" rtl="0" eaLnBrk="1" latinLnBrk="0" hangingPunct="1">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6pPr>
      <a:lvl7pPr marL="0" marR="0" indent="0" algn="ctr" defTabSz="584200" rtl="0" eaLnBrk="1" latinLnBrk="0" hangingPunct="1">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7pPr>
      <a:lvl8pPr marL="0" marR="0" indent="0" algn="ctr" defTabSz="584200" rtl="0" eaLnBrk="1" latinLnBrk="0" hangingPunct="1">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8pPr>
      <a:lvl9pPr marL="0" marR="0" indent="0" algn="ctr" defTabSz="584200" rtl="0" eaLnBrk="1" latinLnBrk="0" hangingPunct="1">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9pPr>
    </p:otherStyle>
  </p:txStyles>
  <p:extLst>
    <p:ext uri="{27BBF7A9-308A-43DC-89C8-2F10F3537804}">
      <p15:sldGuideLst xmlns:p15="http://schemas.microsoft.com/office/powerpoint/2012/main">
        <p15:guide id="1" orient="horz" pos="7886" userDrawn="1">
          <p15:clr>
            <a:srgbClr val="F26B43"/>
          </p15:clr>
        </p15:guide>
        <p15:guide id="2" orient="horz" pos="2982" userDrawn="1">
          <p15:clr>
            <a:srgbClr val="F26B43"/>
          </p15:clr>
        </p15:guide>
        <p15:guide id="3" pos="1070" userDrawn="1">
          <p15:clr>
            <a:srgbClr val="F26B43"/>
          </p15:clr>
        </p15:guide>
        <p15:guide id="4" pos="14597" userDrawn="1">
          <p15:clr>
            <a:srgbClr val="F26B43"/>
          </p15:clr>
        </p15:guide>
        <p15:guide id="5" orient="horz" pos="2421" userDrawn="1">
          <p15:clr>
            <a:srgbClr val="F26B43"/>
          </p15:clr>
        </p15:guide>
        <p15:guide id="6" orient="horz" pos="137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B307931-FF6B-38C3-F8A6-2AF171EE6A42}"/>
              </a:ext>
            </a:extLst>
          </p:cNvPr>
          <p:cNvSpPr>
            <a:spLocks noGrp="1"/>
          </p:cNvSpPr>
          <p:nvPr>
            <p:ph type="title"/>
          </p:nvPr>
        </p:nvSpPr>
        <p:spPr>
          <a:xfrm>
            <a:off x="1676400" y="730251"/>
            <a:ext cx="21031200" cy="2651126"/>
          </a:xfrm>
          <a:prstGeom prst="rect">
            <a:avLst/>
          </a:prstGeom>
        </p:spPr>
        <p:txBody>
          <a:bodyPr vert="horz" lIns="91440" tIns="45720" rIns="91440" bIns="45720" rtlCol="0" anchor="ctr">
            <a:normAutofit/>
          </a:bodyPr>
          <a:lstStyle/>
          <a:p>
            <a:r>
              <a:rPr lang="en-US"/>
              <a:t>Click to edit Master title style</a:t>
            </a:r>
            <a:endParaRPr lang="nl-NL"/>
          </a:p>
        </p:txBody>
      </p:sp>
      <p:sp>
        <p:nvSpPr>
          <p:cNvPr id="3" name="Text Placeholder 2">
            <a:extLst>
              <a:ext uri="{FF2B5EF4-FFF2-40B4-BE49-F238E27FC236}">
                <a16:creationId xmlns:a16="http://schemas.microsoft.com/office/drawing/2014/main" id="{60D598EC-7FA7-506A-4EE5-18773E979ADC}"/>
              </a:ext>
            </a:extLst>
          </p:cNvPr>
          <p:cNvSpPr>
            <a:spLocks noGrp="1"/>
          </p:cNvSpPr>
          <p:nvPr>
            <p:ph type="body" idx="1"/>
          </p:nvPr>
        </p:nvSpPr>
        <p:spPr>
          <a:xfrm>
            <a:off x="1676400" y="3651250"/>
            <a:ext cx="21031200" cy="870267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CE9104B0-6F72-8BE7-341D-C7B929E05B7B}"/>
              </a:ext>
            </a:extLst>
          </p:cNvPr>
          <p:cNvSpPr>
            <a:spLocks noGrp="1"/>
          </p:cNvSpPr>
          <p:nvPr>
            <p:ph type="dt" sz="half" idx="2"/>
          </p:nvPr>
        </p:nvSpPr>
        <p:spPr>
          <a:xfrm>
            <a:off x="1676400" y="12712701"/>
            <a:ext cx="5486400" cy="730250"/>
          </a:xfrm>
          <a:prstGeom prst="rect">
            <a:avLst/>
          </a:prstGeom>
        </p:spPr>
        <p:txBody>
          <a:bodyPr vert="horz" lIns="91440" tIns="45720" rIns="91440" bIns="45720" rtlCol="0" anchor="ctr"/>
          <a:lstStyle>
            <a:lvl1pPr algn="l">
              <a:defRPr sz="2400">
                <a:solidFill>
                  <a:schemeClr val="tx1">
                    <a:tint val="75000"/>
                  </a:schemeClr>
                </a:solidFill>
              </a:defRPr>
            </a:lvl1pPr>
          </a:lstStyle>
          <a:p>
            <a:fld id="{00CCCBF9-8694-40A2-BA6D-72852F81391D}" type="datetimeFigureOut">
              <a:rPr lang="nl-NL" smtClean="0"/>
              <a:t>13-6-2023</a:t>
            </a:fld>
            <a:endParaRPr lang="nl-NL"/>
          </a:p>
        </p:txBody>
      </p:sp>
      <p:sp>
        <p:nvSpPr>
          <p:cNvPr id="5" name="Footer Placeholder 4">
            <a:extLst>
              <a:ext uri="{FF2B5EF4-FFF2-40B4-BE49-F238E27FC236}">
                <a16:creationId xmlns:a16="http://schemas.microsoft.com/office/drawing/2014/main" id="{02171062-1C69-AB4A-4AE1-0C9438531CE4}"/>
              </a:ext>
            </a:extLst>
          </p:cNvPr>
          <p:cNvSpPr>
            <a:spLocks noGrp="1"/>
          </p:cNvSpPr>
          <p:nvPr>
            <p:ph type="ftr" sz="quarter" idx="3"/>
          </p:nvPr>
        </p:nvSpPr>
        <p:spPr>
          <a:xfrm>
            <a:off x="8077200" y="12712701"/>
            <a:ext cx="8229600" cy="730250"/>
          </a:xfrm>
          <a:prstGeom prst="rect">
            <a:avLst/>
          </a:prstGeom>
        </p:spPr>
        <p:txBody>
          <a:bodyPr vert="horz" lIns="91440" tIns="45720" rIns="91440" bIns="45720" rtlCol="0" anchor="ctr"/>
          <a:lstStyle>
            <a:lvl1pPr algn="ctr">
              <a:defRPr sz="2400">
                <a:solidFill>
                  <a:schemeClr val="tx1">
                    <a:tint val="75000"/>
                  </a:schemeClr>
                </a:solidFill>
              </a:defRPr>
            </a:lvl1pPr>
          </a:lstStyle>
          <a:p>
            <a:endParaRPr lang="nl-NL"/>
          </a:p>
        </p:txBody>
      </p:sp>
      <p:sp>
        <p:nvSpPr>
          <p:cNvPr id="6" name="Slide Number Placeholder 5">
            <a:extLst>
              <a:ext uri="{FF2B5EF4-FFF2-40B4-BE49-F238E27FC236}">
                <a16:creationId xmlns:a16="http://schemas.microsoft.com/office/drawing/2014/main" id="{96A9B0CE-2758-04B0-6754-7E909F99D6A5}"/>
              </a:ext>
            </a:extLst>
          </p:cNvPr>
          <p:cNvSpPr>
            <a:spLocks noGrp="1"/>
          </p:cNvSpPr>
          <p:nvPr>
            <p:ph type="sldNum" sz="quarter" idx="4"/>
          </p:nvPr>
        </p:nvSpPr>
        <p:spPr>
          <a:xfrm>
            <a:off x="17221200" y="12712701"/>
            <a:ext cx="5486400" cy="730250"/>
          </a:xfrm>
          <a:prstGeom prst="rect">
            <a:avLst/>
          </a:prstGeom>
        </p:spPr>
        <p:txBody>
          <a:bodyPr vert="horz" lIns="91440" tIns="45720" rIns="91440" bIns="45720" rtlCol="0" anchor="ctr"/>
          <a:lstStyle>
            <a:lvl1pPr algn="r">
              <a:defRPr sz="2400">
                <a:solidFill>
                  <a:schemeClr val="tx1">
                    <a:tint val="75000"/>
                  </a:schemeClr>
                </a:solidFill>
              </a:defRPr>
            </a:lvl1pPr>
          </a:lstStyle>
          <a:p>
            <a:fld id="{652DB0EE-FDE1-4A0D-BE4A-A2BDC0AC2CC2}" type="slidenum">
              <a:rPr lang="nl-NL" smtClean="0"/>
              <a:t>‹nr.›</a:t>
            </a:fld>
            <a:endParaRPr lang="nl-NL"/>
          </a:p>
        </p:txBody>
      </p:sp>
    </p:spTree>
    <p:extLst>
      <p:ext uri="{BB962C8B-B14F-4D97-AF65-F5344CB8AC3E}">
        <p14:creationId xmlns:p14="http://schemas.microsoft.com/office/powerpoint/2010/main" val="360436398"/>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Lst>
  <p:txStyles>
    <p:title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nl-NL"/>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descr="drift-logo-horizontaal-wit.eps"/>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2071137" y="1179831"/>
            <a:ext cx="5735130" cy="1071902"/>
          </a:xfrm>
          <a:prstGeom prst="rect">
            <a:avLst/>
          </a:prstGeom>
        </p:spPr>
      </p:pic>
    </p:spTree>
    <p:extLst>
      <p:ext uri="{BB962C8B-B14F-4D97-AF65-F5344CB8AC3E}">
        <p14:creationId xmlns:p14="http://schemas.microsoft.com/office/powerpoint/2010/main" val="1119802830"/>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Lst>
  <p:txStyles>
    <p:titleStyle>
      <a:lvl1pPr algn="l" defTabSz="2438340" rtl="0" eaLnBrk="1" latinLnBrk="0" hangingPunct="1">
        <a:lnSpc>
          <a:spcPct val="90000"/>
        </a:lnSpc>
        <a:spcBef>
          <a:spcPct val="0"/>
        </a:spcBef>
        <a:buNone/>
        <a:defRPr sz="11734" kern="1200">
          <a:solidFill>
            <a:schemeClr val="tx1"/>
          </a:solidFill>
          <a:latin typeface="+mj-lt"/>
          <a:ea typeface="+mj-ea"/>
          <a:cs typeface="+mj-cs"/>
        </a:defRPr>
      </a:lvl1pPr>
    </p:titleStyle>
    <p:bodyStyle>
      <a:lvl1pPr marL="609584" indent="-609584" algn="l" defTabSz="2438340" rtl="0" eaLnBrk="1" latinLnBrk="0" hangingPunct="1">
        <a:lnSpc>
          <a:spcPct val="90000"/>
        </a:lnSpc>
        <a:spcBef>
          <a:spcPts val="2666"/>
        </a:spcBef>
        <a:buFont typeface="Arial" panose="020B0604020202020204" pitchFamily="34" charset="0"/>
        <a:buChar char="•"/>
        <a:defRPr sz="7466" kern="1200">
          <a:solidFill>
            <a:schemeClr val="tx1"/>
          </a:solidFill>
          <a:latin typeface="+mn-lt"/>
          <a:ea typeface="+mn-ea"/>
          <a:cs typeface="+mn-cs"/>
        </a:defRPr>
      </a:lvl1pPr>
      <a:lvl2pPr marL="1828754" indent="-609584" algn="l" defTabSz="2438340" rtl="0" eaLnBrk="1" latinLnBrk="0" hangingPunct="1">
        <a:lnSpc>
          <a:spcPct val="90000"/>
        </a:lnSpc>
        <a:spcBef>
          <a:spcPts val="1334"/>
        </a:spcBef>
        <a:buFont typeface="Arial" panose="020B0604020202020204" pitchFamily="34" charset="0"/>
        <a:buChar char="•"/>
        <a:defRPr sz="6400" kern="1200">
          <a:solidFill>
            <a:schemeClr val="tx1"/>
          </a:solidFill>
          <a:latin typeface="+mn-lt"/>
          <a:ea typeface="+mn-ea"/>
          <a:cs typeface="+mn-cs"/>
        </a:defRPr>
      </a:lvl2pPr>
      <a:lvl3pPr marL="3047924" indent="-609584" algn="l" defTabSz="2438340" rtl="0" eaLnBrk="1" latinLnBrk="0" hangingPunct="1">
        <a:lnSpc>
          <a:spcPct val="90000"/>
        </a:lnSpc>
        <a:spcBef>
          <a:spcPts val="1334"/>
        </a:spcBef>
        <a:buFont typeface="Arial" panose="020B0604020202020204" pitchFamily="34" charset="0"/>
        <a:buChar char="•"/>
        <a:defRPr sz="5334" kern="1200">
          <a:solidFill>
            <a:schemeClr val="tx1"/>
          </a:solidFill>
          <a:latin typeface="+mn-lt"/>
          <a:ea typeface="+mn-ea"/>
          <a:cs typeface="+mn-cs"/>
        </a:defRPr>
      </a:lvl3pPr>
      <a:lvl4pPr marL="4267094" indent="-609584" algn="l" defTabSz="2438340" rtl="0" eaLnBrk="1" latinLnBrk="0" hangingPunct="1">
        <a:lnSpc>
          <a:spcPct val="90000"/>
        </a:lnSpc>
        <a:spcBef>
          <a:spcPts val="1334"/>
        </a:spcBef>
        <a:buFont typeface="Arial" panose="020B0604020202020204" pitchFamily="34" charset="0"/>
        <a:buChar char="•"/>
        <a:defRPr sz="4800" kern="1200">
          <a:solidFill>
            <a:schemeClr val="tx1"/>
          </a:solidFill>
          <a:latin typeface="+mn-lt"/>
          <a:ea typeface="+mn-ea"/>
          <a:cs typeface="+mn-cs"/>
        </a:defRPr>
      </a:lvl4pPr>
      <a:lvl5pPr marL="5486262" indent="-609584" algn="l" defTabSz="2438340" rtl="0" eaLnBrk="1" latinLnBrk="0" hangingPunct="1">
        <a:lnSpc>
          <a:spcPct val="90000"/>
        </a:lnSpc>
        <a:spcBef>
          <a:spcPts val="1334"/>
        </a:spcBef>
        <a:buFont typeface="Arial" panose="020B0604020202020204" pitchFamily="34" charset="0"/>
        <a:buChar char="•"/>
        <a:defRPr sz="4800" kern="1200">
          <a:solidFill>
            <a:schemeClr val="tx1"/>
          </a:solidFill>
          <a:latin typeface="+mn-lt"/>
          <a:ea typeface="+mn-ea"/>
          <a:cs typeface="+mn-cs"/>
        </a:defRPr>
      </a:lvl5pPr>
      <a:lvl6pPr marL="6705432" indent="-609584" algn="l" defTabSz="2438340" rtl="0" eaLnBrk="1" latinLnBrk="0" hangingPunct="1">
        <a:lnSpc>
          <a:spcPct val="90000"/>
        </a:lnSpc>
        <a:spcBef>
          <a:spcPts val="1334"/>
        </a:spcBef>
        <a:buFont typeface="Arial" panose="020B0604020202020204" pitchFamily="34" charset="0"/>
        <a:buChar char="•"/>
        <a:defRPr sz="4800" kern="1200">
          <a:solidFill>
            <a:schemeClr val="tx1"/>
          </a:solidFill>
          <a:latin typeface="+mn-lt"/>
          <a:ea typeface="+mn-ea"/>
          <a:cs typeface="+mn-cs"/>
        </a:defRPr>
      </a:lvl6pPr>
      <a:lvl7pPr marL="7924602" indent="-609584" algn="l" defTabSz="2438340" rtl="0" eaLnBrk="1" latinLnBrk="0" hangingPunct="1">
        <a:lnSpc>
          <a:spcPct val="90000"/>
        </a:lnSpc>
        <a:spcBef>
          <a:spcPts val="1334"/>
        </a:spcBef>
        <a:buFont typeface="Arial" panose="020B0604020202020204" pitchFamily="34" charset="0"/>
        <a:buChar char="•"/>
        <a:defRPr sz="4800" kern="1200">
          <a:solidFill>
            <a:schemeClr val="tx1"/>
          </a:solidFill>
          <a:latin typeface="+mn-lt"/>
          <a:ea typeface="+mn-ea"/>
          <a:cs typeface="+mn-cs"/>
        </a:defRPr>
      </a:lvl7pPr>
      <a:lvl8pPr marL="9143772" indent="-609584" algn="l" defTabSz="2438340" rtl="0" eaLnBrk="1" latinLnBrk="0" hangingPunct="1">
        <a:lnSpc>
          <a:spcPct val="90000"/>
        </a:lnSpc>
        <a:spcBef>
          <a:spcPts val="1334"/>
        </a:spcBef>
        <a:buFont typeface="Arial" panose="020B0604020202020204" pitchFamily="34" charset="0"/>
        <a:buChar char="•"/>
        <a:defRPr sz="4800" kern="1200">
          <a:solidFill>
            <a:schemeClr val="tx1"/>
          </a:solidFill>
          <a:latin typeface="+mn-lt"/>
          <a:ea typeface="+mn-ea"/>
          <a:cs typeface="+mn-cs"/>
        </a:defRPr>
      </a:lvl8pPr>
      <a:lvl9pPr marL="10362940" indent="-609584" algn="l" defTabSz="2438340" rtl="0" eaLnBrk="1" latinLnBrk="0" hangingPunct="1">
        <a:lnSpc>
          <a:spcPct val="90000"/>
        </a:lnSpc>
        <a:spcBef>
          <a:spcPts val="1334"/>
        </a:spcBef>
        <a:buFont typeface="Arial" panose="020B0604020202020204" pitchFamily="34" charset="0"/>
        <a:buChar char="•"/>
        <a:defRPr sz="4800" kern="1200">
          <a:solidFill>
            <a:schemeClr val="tx1"/>
          </a:solidFill>
          <a:latin typeface="+mn-lt"/>
          <a:ea typeface="+mn-ea"/>
          <a:cs typeface="+mn-cs"/>
        </a:defRPr>
      </a:lvl9pPr>
    </p:bodyStyle>
    <p:otherStyle>
      <a:defPPr>
        <a:defRPr lang="en-US"/>
      </a:defPPr>
      <a:lvl1pPr marL="0" algn="l" defTabSz="2438340" rtl="0" eaLnBrk="1" latinLnBrk="0" hangingPunct="1">
        <a:defRPr sz="4800" kern="1200">
          <a:solidFill>
            <a:schemeClr val="tx1"/>
          </a:solidFill>
          <a:latin typeface="+mn-lt"/>
          <a:ea typeface="+mn-ea"/>
          <a:cs typeface="+mn-cs"/>
        </a:defRPr>
      </a:lvl1pPr>
      <a:lvl2pPr marL="1219170" algn="l" defTabSz="2438340" rtl="0" eaLnBrk="1" latinLnBrk="0" hangingPunct="1">
        <a:defRPr sz="4800" kern="1200">
          <a:solidFill>
            <a:schemeClr val="tx1"/>
          </a:solidFill>
          <a:latin typeface="+mn-lt"/>
          <a:ea typeface="+mn-ea"/>
          <a:cs typeface="+mn-cs"/>
        </a:defRPr>
      </a:lvl2pPr>
      <a:lvl3pPr marL="2438340" algn="l" defTabSz="2438340" rtl="0" eaLnBrk="1" latinLnBrk="0" hangingPunct="1">
        <a:defRPr sz="4800" kern="1200">
          <a:solidFill>
            <a:schemeClr val="tx1"/>
          </a:solidFill>
          <a:latin typeface="+mn-lt"/>
          <a:ea typeface="+mn-ea"/>
          <a:cs typeface="+mn-cs"/>
        </a:defRPr>
      </a:lvl3pPr>
      <a:lvl4pPr marL="3657508" algn="l" defTabSz="2438340" rtl="0" eaLnBrk="1" latinLnBrk="0" hangingPunct="1">
        <a:defRPr sz="4800" kern="1200">
          <a:solidFill>
            <a:schemeClr val="tx1"/>
          </a:solidFill>
          <a:latin typeface="+mn-lt"/>
          <a:ea typeface="+mn-ea"/>
          <a:cs typeface="+mn-cs"/>
        </a:defRPr>
      </a:lvl4pPr>
      <a:lvl5pPr marL="4876678" algn="l" defTabSz="2438340" rtl="0" eaLnBrk="1" latinLnBrk="0" hangingPunct="1">
        <a:defRPr sz="4800" kern="1200">
          <a:solidFill>
            <a:schemeClr val="tx1"/>
          </a:solidFill>
          <a:latin typeface="+mn-lt"/>
          <a:ea typeface="+mn-ea"/>
          <a:cs typeface="+mn-cs"/>
        </a:defRPr>
      </a:lvl5pPr>
      <a:lvl6pPr marL="6095848" algn="l" defTabSz="2438340" rtl="0" eaLnBrk="1" latinLnBrk="0" hangingPunct="1">
        <a:defRPr sz="4800" kern="1200">
          <a:solidFill>
            <a:schemeClr val="tx1"/>
          </a:solidFill>
          <a:latin typeface="+mn-lt"/>
          <a:ea typeface="+mn-ea"/>
          <a:cs typeface="+mn-cs"/>
        </a:defRPr>
      </a:lvl6pPr>
      <a:lvl7pPr marL="7315018" algn="l" defTabSz="2438340" rtl="0" eaLnBrk="1" latinLnBrk="0" hangingPunct="1">
        <a:defRPr sz="4800" kern="1200">
          <a:solidFill>
            <a:schemeClr val="tx1"/>
          </a:solidFill>
          <a:latin typeface="+mn-lt"/>
          <a:ea typeface="+mn-ea"/>
          <a:cs typeface="+mn-cs"/>
        </a:defRPr>
      </a:lvl7pPr>
      <a:lvl8pPr marL="8534186" algn="l" defTabSz="2438340" rtl="0" eaLnBrk="1" latinLnBrk="0" hangingPunct="1">
        <a:defRPr sz="4800" kern="1200">
          <a:solidFill>
            <a:schemeClr val="tx1"/>
          </a:solidFill>
          <a:latin typeface="+mn-lt"/>
          <a:ea typeface="+mn-ea"/>
          <a:cs typeface="+mn-cs"/>
        </a:defRPr>
      </a:lvl8pPr>
      <a:lvl9pPr marL="9753356" algn="l" defTabSz="2438340" rtl="0" eaLnBrk="1" latinLnBrk="0" hangingPunct="1">
        <a:defRPr sz="4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xml"/><Relationship Id="rId1" Type="http://schemas.openxmlformats.org/officeDocument/2006/relationships/slideLayout" Target="../slideLayouts/slideLayout6.xml"/><Relationship Id="rId5" Type="http://schemas.openxmlformats.org/officeDocument/2006/relationships/image" Target="../media/image25.png"/><Relationship Id="rId4" Type="http://schemas.openxmlformats.org/officeDocument/2006/relationships/image" Target="../media/image24.png"/></Relationships>
</file>

<file path=ppt/slides/_rels/slide1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9.xml"/></Relationships>
</file>

<file path=ppt/slides/_rels/slide1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63.xml"/></Relationships>
</file>

<file path=ppt/slides/_rels/slide1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3.xml"/></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71.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8.xml"/><Relationship Id="rId1" Type="http://schemas.openxmlformats.org/officeDocument/2006/relationships/slideLayout" Target="../slideLayouts/slideLayout63.xml"/></Relationships>
</file>

<file path=ppt/slides/_rels/slide1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3.xml"/></Relationships>
</file>

<file path=ppt/slides/_rels/slide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63.xml"/></Relationships>
</file>

<file path=ppt/slides/_rels/slide1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3.xml"/></Relationships>
</file>

<file path=ppt/slides/_rels/slide1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6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3.xml"/></Relationships>
</file>

<file path=ppt/slides/_rels/slide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22.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11.xml"/><Relationship Id="rId1" Type="http://schemas.openxmlformats.org/officeDocument/2006/relationships/slideLayout" Target="../slideLayouts/slideLayout70.xml"/><Relationship Id="rId4" Type="http://schemas.openxmlformats.org/officeDocument/2006/relationships/image" Target="../media/image46.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44.xml"/><Relationship Id="rId5" Type="http://schemas.openxmlformats.org/officeDocument/2006/relationships/image" Target="../media/image50.png"/><Relationship Id="rId4" Type="http://schemas.openxmlformats.org/officeDocument/2006/relationships/image" Target="../media/image49.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13.xml"/><Relationship Id="rId4" Type="http://schemas.openxmlformats.org/officeDocument/2006/relationships/image" Target="../media/image53.jpeg"/></Relationships>
</file>

<file path=ppt/slides/_rels/slide27.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40.xml"/></Relationships>
</file>

<file path=ppt/slides/_rels/slide3.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6.xml"/><Relationship Id="rId7" Type="http://schemas.openxmlformats.org/officeDocument/2006/relationships/oleObject" Target="../embeddings/oleObject2.bin"/><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notesSlide" Target="../notesSlides/notesSlide3.xml"/><Relationship Id="rId5" Type="http://schemas.openxmlformats.org/officeDocument/2006/relationships/slideLayout" Target="../slideLayouts/slideLayout45.xml"/><Relationship Id="rId4" Type="http://schemas.openxmlformats.org/officeDocument/2006/relationships/tags" Target="../tags/tag7.xml"/><Relationship Id="rId9" Type="http://schemas.openxmlformats.org/officeDocument/2006/relationships/image" Target="../media/image27.jpeg"/></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3.xml"/><Relationship Id="rId4" Type="http://schemas.openxmlformats.org/officeDocument/2006/relationships/image" Target="../media/image30.png"/></Relationships>
</file>

<file path=ppt/slides/_rels/slide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1.png"/><Relationship Id="rId1" Type="http://schemas.openxmlformats.org/officeDocument/2006/relationships/slideLayout" Target="../slideLayouts/slideLayout13.xml"/><Relationship Id="rId4" Type="http://schemas.openxmlformats.org/officeDocument/2006/relationships/image" Target="../media/image32.png"/></Relationships>
</file>

<file path=ppt/slides/_rels/slide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3.xml"/><Relationship Id="rId4" Type="http://schemas.openxmlformats.org/officeDocument/2006/relationships/image" Target="../media/image29.png"/></Relationships>
</file>

<file path=ppt/slides/_rels/slide7.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tags" Target="../tags/tag10.xml"/><Relationship Id="rId7" Type="http://schemas.openxmlformats.org/officeDocument/2006/relationships/oleObject" Target="../embeddings/oleObject2.bin"/><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notesSlide" Target="../notesSlides/notesSlide4.xml"/><Relationship Id="rId5" Type="http://schemas.openxmlformats.org/officeDocument/2006/relationships/slideLayout" Target="../slideLayouts/slideLayout45.xml"/><Relationship Id="rId4" Type="http://schemas.openxmlformats.org/officeDocument/2006/relationships/tags" Target="../tags/tag11.xml"/><Relationship Id="rId9" Type="http://schemas.openxmlformats.org/officeDocument/2006/relationships/image" Target="../media/image35.jpe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5.xml"/><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769E410-7C24-4751-9A71-961EEA296F67}"/>
              </a:ext>
            </a:extLst>
          </p:cNvPr>
          <p:cNvSpPr>
            <a:spLocks noGrp="1"/>
          </p:cNvSpPr>
          <p:nvPr>
            <p:ph type="title"/>
          </p:nvPr>
        </p:nvSpPr>
        <p:spPr>
          <a:xfrm>
            <a:off x="2459736" y="7577396"/>
            <a:ext cx="10460736" cy="3611149"/>
          </a:xfrm>
        </p:spPr>
        <p:txBody>
          <a:bodyPr anchor="ctr">
            <a:noAutofit/>
          </a:bodyPr>
          <a:lstStyle/>
          <a:p>
            <a:r>
              <a:rPr lang="nl-NL" sz="8800"/>
              <a:t>Doorbraakprojecten: projectvoorstellen subsidie klaar maken</a:t>
            </a:r>
          </a:p>
        </p:txBody>
      </p:sp>
      <p:sp>
        <p:nvSpPr>
          <p:cNvPr id="4" name="Tijdelijke aanduiding voor tekst 3">
            <a:extLst>
              <a:ext uri="{FF2B5EF4-FFF2-40B4-BE49-F238E27FC236}">
                <a16:creationId xmlns:a16="http://schemas.microsoft.com/office/drawing/2014/main" id="{5CD75A80-7CFF-4111-A3B2-C3AC3B79254A}"/>
              </a:ext>
            </a:extLst>
          </p:cNvPr>
          <p:cNvSpPr>
            <a:spLocks noGrp="1"/>
          </p:cNvSpPr>
          <p:nvPr>
            <p:ph type="body" sz="quarter" idx="1"/>
          </p:nvPr>
        </p:nvSpPr>
        <p:spPr>
          <a:xfrm>
            <a:off x="2496316" y="3317192"/>
            <a:ext cx="10469880" cy="4059936"/>
          </a:xfrm>
        </p:spPr>
        <p:txBody>
          <a:bodyPr>
            <a:noAutofit/>
          </a:bodyPr>
          <a:lstStyle/>
          <a:p>
            <a:endParaRPr lang="nl-NL" sz="9600"/>
          </a:p>
          <a:p>
            <a:r>
              <a:rPr lang="nl-NL" sz="8000"/>
              <a:t>Vernieuwersnetwerk </a:t>
            </a:r>
            <a:r>
              <a:rPr lang="nl-NL" sz="8000" err="1"/>
              <a:t>biobased</a:t>
            </a:r>
            <a:r>
              <a:rPr lang="nl-NL" sz="8000"/>
              <a:t> bouwen Zuid-Holland</a:t>
            </a:r>
          </a:p>
        </p:txBody>
      </p:sp>
      <p:sp>
        <p:nvSpPr>
          <p:cNvPr id="5" name="Tijdelijke aanduiding voor datum 4">
            <a:extLst>
              <a:ext uri="{FF2B5EF4-FFF2-40B4-BE49-F238E27FC236}">
                <a16:creationId xmlns:a16="http://schemas.microsoft.com/office/drawing/2014/main" id="{7534EDE4-A26E-4594-B4A9-D436C4E4EFF0}"/>
              </a:ext>
            </a:extLst>
          </p:cNvPr>
          <p:cNvSpPr>
            <a:spLocks noGrp="1"/>
          </p:cNvSpPr>
          <p:nvPr>
            <p:ph type="dt" sz="half" idx="22"/>
          </p:nvPr>
        </p:nvSpPr>
        <p:spPr>
          <a:xfrm>
            <a:off x="2441807" y="11367879"/>
            <a:ext cx="10506457" cy="730250"/>
          </a:xfrm>
        </p:spPr>
        <p:txBody>
          <a:bodyPr>
            <a:noAutofit/>
          </a:bodyPr>
          <a:lstStyle/>
          <a:p>
            <a:pPr defTabSz="1828823"/>
            <a:r>
              <a:rPr lang="nl-NL">
                <a:solidFill>
                  <a:srgbClr val="000000"/>
                </a:solidFill>
                <a:latin typeface="Source Sans Pro"/>
              </a:rPr>
              <a:t>13 juni 2023</a:t>
            </a:r>
          </a:p>
        </p:txBody>
      </p:sp>
      <p:sp>
        <p:nvSpPr>
          <p:cNvPr id="2" name="Tijdelijke aanduiding voor dianummer 1">
            <a:extLst>
              <a:ext uri="{FF2B5EF4-FFF2-40B4-BE49-F238E27FC236}">
                <a16:creationId xmlns:a16="http://schemas.microsoft.com/office/drawing/2014/main" id="{65ECD142-4AB2-4504-8E24-5380FE6390DE}"/>
              </a:ext>
            </a:extLst>
          </p:cNvPr>
          <p:cNvSpPr>
            <a:spLocks noGrp="1"/>
          </p:cNvSpPr>
          <p:nvPr>
            <p:ph type="sldNum" sz="quarter" idx="2"/>
          </p:nvPr>
        </p:nvSpPr>
        <p:spPr/>
        <p:txBody>
          <a:bodyPr>
            <a:noAutofit/>
          </a:bodyPr>
          <a:lstStyle/>
          <a:p>
            <a:fld id="{86CB4B4D-7CA3-9044-876B-883B54F8677D}" type="slidenum">
              <a:rPr lang="nl-NL">
                <a:solidFill>
                  <a:srgbClr val="000000"/>
                </a:solidFill>
                <a:latin typeface="Source Sans Pro"/>
              </a:rPr>
              <a:pPr/>
              <a:t>1</a:t>
            </a:fld>
            <a:endParaRPr lang="nl-NL">
              <a:solidFill>
                <a:srgbClr val="000000"/>
              </a:solidFill>
              <a:latin typeface="Source Sans Pro"/>
            </a:endParaRPr>
          </a:p>
        </p:txBody>
      </p:sp>
      <p:pic>
        <p:nvPicPr>
          <p:cNvPr id="7" name="Tijdelijke aanduiding voor afbeelding 6" descr="Houten puzzel">
            <a:extLst>
              <a:ext uri="{FF2B5EF4-FFF2-40B4-BE49-F238E27FC236}">
                <a16:creationId xmlns:a16="http://schemas.microsoft.com/office/drawing/2014/main" id="{7293A055-0C80-45D1-B40E-EBEA78F020D9}"/>
              </a:ext>
            </a:extLst>
          </p:cNvPr>
          <p:cNvPicPr>
            <a:picLocks noGrp="1" noChangeAspect="1"/>
          </p:cNvPicPr>
          <p:nvPr>
            <p:ph type="pic" sz="quarter" idx="23"/>
          </p:nvPr>
        </p:nvPicPr>
        <p:blipFill>
          <a:blip r:embed="rId3" cstate="print">
            <a:extLst>
              <a:ext uri="{28A0092B-C50C-407E-A947-70E740481C1C}">
                <a14:useLocalDpi xmlns:a14="http://schemas.microsoft.com/office/drawing/2010/main" val="0"/>
              </a:ext>
            </a:extLst>
          </a:blip>
          <a:srcRect l="16633" r="16633"/>
          <a:stretch>
            <a:fillRect/>
          </a:stretch>
        </p:blipFill>
        <p:spPr/>
      </p:pic>
      <p:pic>
        <p:nvPicPr>
          <p:cNvPr id="13" name="Afbeelding 12" descr="Afbeelding met tekst&#10;&#10;Automatisch gegenereerde beschrijving">
            <a:extLst>
              <a:ext uri="{FF2B5EF4-FFF2-40B4-BE49-F238E27FC236}">
                <a16:creationId xmlns:a16="http://schemas.microsoft.com/office/drawing/2014/main" id="{57FF135B-12F0-4786-89F5-C806C8FDD779}"/>
              </a:ext>
            </a:extLst>
          </p:cNvPr>
          <p:cNvPicPr>
            <a:picLocks noChangeAspect="1"/>
          </p:cNvPicPr>
          <p:nvPr/>
        </p:nvPicPr>
        <p:blipFill rotWithShape="1">
          <a:blip r:embed="rId4">
            <a:extLst>
              <a:ext uri="{28A0092B-C50C-407E-A947-70E740481C1C}">
                <a14:useLocalDpi xmlns:a14="http://schemas.microsoft.com/office/drawing/2010/main" val="0"/>
              </a:ext>
            </a:extLst>
          </a:blip>
          <a:srcRect l="13770" t="13391" r="7636" b="29145"/>
          <a:stretch/>
        </p:blipFill>
        <p:spPr>
          <a:xfrm>
            <a:off x="18941003" y="12370253"/>
            <a:ext cx="4485653" cy="1087611"/>
          </a:xfrm>
          <a:prstGeom prst="rect">
            <a:avLst/>
          </a:prstGeom>
        </p:spPr>
      </p:pic>
      <p:pic>
        <p:nvPicPr>
          <p:cNvPr id="8" name="Afbeelding 7">
            <a:extLst>
              <a:ext uri="{FF2B5EF4-FFF2-40B4-BE49-F238E27FC236}">
                <a16:creationId xmlns:a16="http://schemas.microsoft.com/office/drawing/2014/main" id="{1A3DDEB0-BB0D-4859-6132-28E6CBAFAC6F}"/>
              </a:ext>
            </a:extLst>
          </p:cNvPr>
          <p:cNvPicPr>
            <a:picLocks noChangeAspect="1"/>
          </p:cNvPicPr>
          <p:nvPr/>
        </p:nvPicPr>
        <p:blipFill>
          <a:blip r:embed="rId5"/>
          <a:stretch>
            <a:fillRect/>
          </a:stretch>
        </p:blipFill>
        <p:spPr>
          <a:xfrm>
            <a:off x="2911134" y="444853"/>
            <a:ext cx="5842684" cy="1939166"/>
          </a:xfrm>
          <a:prstGeom prst="rect">
            <a:avLst/>
          </a:prstGeom>
        </p:spPr>
      </p:pic>
    </p:spTree>
    <p:extLst>
      <p:ext uri="{BB962C8B-B14F-4D97-AF65-F5344CB8AC3E}">
        <p14:creationId xmlns:p14="http://schemas.microsoft.com/office/powerpoint/2010/main" val="2467696644"/>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 name="CustomShape 1"/>
          <p:cNvSpPr/>
          <p:nvPr/>
        </p:nvSpPr>
        <p:spPr>
          <a:xfrm>
            <a:off x="17354880" y="2293880"/>
            <a:ext cx="3310080" cy="356160"/>
          </a:xfrm>
          <a:prstGeom prst="rect">
            <a:avLst/>
          </a:prstGeom>
          <a:solidFill>
            <a:schemeClr val="accent2"/>
          </a:solidFill>
          <a:ln>
            <a:noFill/>
          </a:ln>
          <a:effectLst>
            <a:outerShdw blurRad="40000" dist="23000" dir="5400000" rotWithShape="0">
              <a:srgbClr val="000000">
                <a:alpha val="35000"/>
              </a:srgbClr>
            </a:outerShdw>
          </a:effectLst>
        </p:spPr>
        <p:style>
          <a:lnRef idx="1">
            <a:schemeClr val="accent2"/>
          </a:lnRef>
          <a:fillRef idx="3">
            <a:schemeClr val="accent2"/>
          </a:fillRef>
          <a:effectRef idx="2">
            <a:schemeClr val="accent2"/>
          </a:effectRef>
          <a:fontRef idx="minor"/>
        </p:style>
      </p:sp>
      <p:pic>
        <p:nvPicPr>
          <p:cNvPr id="265" name="Picture 9"/>
          <p:cNvPicPr/>
          <p:nvPr/>
        </p:nvPicPr>
        <p:blipFill>
          <a:blip r:embed="rId2"/>
          <a:stretch/>
        </p:blipFill>
        <p:spPr>
          <a:xfrm>
            <a:off x="6739200" y="3622080"/>
            <a:ext cx="10615680" cy="7940160"/>
          </a:xfrm>
          <a:prstGeom prst="rect">
            <a:avLst/>
          </a:prstGeom>
          <a:ln>
            <a:noFill/>
          </a:ln>
        </p:spPr>
      </p:pic>
      <p:sp>
        <p:nvSpPr>
          <p:cNvPr id="266" name="CustomShape 2"/>
          <p:cNvSpPr/>
          <p:nvPr/>
        </p:nvSpPr>
        <p:spPr>
          <a:xfrm>
            <a:off x="1046400" y="2716800"/>
            <a:ext cx="8714880" cy="1378560"/>
          </a:xfrm>
          <a:prstGeom prst="rect">
            <a:avLst/>
          </a:prstGeom>
          <a:noFill/>
          <a:ln>
            <a:noFill/>
          </a:ln>
        </p:spPr>
        <p:style>
          <a:lnRef idx="0">
            <a:scrgbClr r="0" g="0" b="0"/>
          </a:lnRef>
          <a:fillRef idx="0">
            <a:scrgbClr r="0" g="0" b="0"/>
          </a:fillRef>
          <a:effectRef idx="0">
            <a:scrgbClr r="0" g="0" b="0"/>
          </a:effectRef>
          <a:fontRef idx="minor"/>
        </p:style>
        <p:txBody>
          <a:bodyPr lIns="240000" tIns="120000" rIns="240000" bIns="120000"/>
          <a:lstStyle/>
          <a:p>
            <a:pPr defTabSz="1828800" hangingPunct="1">
              <a:lnSpc>
                <a:spcPct val="100000"/>
              </a:lnSpc>
              <a:spcBef>
                <a:spcPts val="0"/>
              </a:spcBef>
            </a:pPr>
            <a:r>
              <a:rPr lang="nl-NL" sz="7466" kern="1200" spc="-2" dirty="0">
                <a:solidFill>
                  <a:srgbClr val="28B788"/>
                </a:solidFill>
                <a:latin typeface="Campton Book"/>
              </a:rPr>
              <a:t>Onderzoek</a:t>
            </a:r>
            <a:endParaRPr lang="nl-NL" sz="7466" kern="1200" spc="-2" dirty="0">
              <a:solidFill>
                <a:srgbClr val="28B788"/>
              </a:solidFill>
              <a:latin typeface="Arial"/>
            </a:endParaRPr>
          </a:p>
        </p:txBody>
      </p:sp>
      <p:sp>
        <p:nvSpPr>
          <p:cNvPr id="267" name="CustomShape 3"/>
          <p:cNvSpPr/>
          <p:nvPr/>
        </p:nvSpPr>
        <p:spPr>
          <a:xfrm>
            <a:off x="7640640" y="2876160"/>
            <a:ext cx="10449600" cy="4854720"/>
          </a:xfrm>
          <a:prstGeom prst="uturnArrow">
            <a:avLst>
              <a:gd name="adj1" fmla="val 2802"/>
              <a:gd name="adj2" fmla="val 25000"/>
              <a:gd name="adj3" fmla="val 31033"/>
              <a:gd name="adj4" fmla="val 55399"/>
              <a:gd name="adj5" fmla="val 87070"/>
            </a:avLst>
          </a:prstGeom>
          <a:noFill/>
          <a:ln>
            <a:solidFill>
              <a:srgbClr val="B80A4B"/>
            </a:solidFill>
            <a:custDash>
              <a:ds d="100000" sp="100000"/>
            </a:custDash>
            <a:round/>
          </a:ln>
        </p:spPr>
        <p:style>
          <a:lnRef idx="2">
            <a:schemeClr val="accent1">
              <a:shade val="50000"/>
            </a:schemeClr>
          </a:lnRef>
          <a:fillRef idx="1">
            <a:schemeClr val="accent1"/>
          </a:fillRef>
          <a:effectRef idx="0">
            <a:schemeClr val="accent1"/>
          </a:effectRef>
          <a:fontRef idx="minor"/>
        </p:style>
      </p:sp>
      <p:sp>
        <p:nvSpPr>
          <p:cNvPr id="268" name="CustomShape 4"/>
          <p:cNvSpPr/>
          <p:nvPr/>
        </p:nvSpPr>
        <p:spPr>
          <a:xfrm rot="10800000">
            <a:off x="6834240" y="7304640"/>
            <a:ext cx="10091520" cy="3863040"/>
          </a:xfrm>
          <a:prstGeom prst="uturnArrow">
            <a:avLst>
              <a:gd name="adj1" fmla="val 3251"/>
              <a:gd name="adj2" fmla="val 25000"/>
              <a:gd name="adj3" fmla="val 32028"/>
              <a:gd name="adj4" fmla="val 55399"/>
              <a:gd name="adj5" fmla="val 87567"/>
            </a:avLst>
          </a:prstGeom>
          <a:noFill/>
          <a:ln>
            <a:custDash>
              <a:ds d="100000" sp="100000"/>
            </a:custDash>
            <a:round/>
          </a:ln>
        </p:spPr>
        <p:style>
          <a:lnRef idx="2">
            <a:schemeClr val="accent1">
              <a:shade val="50000"/>
            </a:schemeClr>
          </a:lnRef>
          <a:fillRef idx="1">
            <a:schemeClr val="accent1"/>
          </a:fillRef>
          <a:effectRef idx="0">
            <a:schemeClr val="accent1"/>
          </a:effectRef>
          <a:fontRef idx="minor"/>
        </p:style>
      </p:sp>
      <p:sp>
        <p:nvSpPr>
          <p:cNvPr id="269" name="CustomShape 5"/>
          <p:cNvSpPr/>
          <p:nvPr/>
        </p:nvSpPr>
        <p:spPr>
          <a:xfrm>
            <a:off x="1559040" y="10099200"/>
            <a:ext cx="3310080" cy="356160"/>
          </a:xfrm>
          <a:prstGeom prst="rect">
            <a:avLst/>
          </a:prstGeom>
          <a:solidFill>
            <a:schemeClr val="accent1"/>
          </a:solidFill>
          <a:ln>
            <a:noFill/>
          </a:ln>
          <a:effectLst>
            <a:outerShdw blurRad="40000" dist="23000" dir="5400000" rotWithShape="0">
              <a:srgbClr val="000000">
                <a:alpha val="35000"/>
              </a:srgbClr>
            </a:outerShdw>
          </a:effectLst>
        </p:spPr>
        <p:style>
          <a:lnRef idx="1">
            <a:schemeClr val="accent2"/>
          </a:lnRef>
          <a:fillRef idx="3">
            <a:schemeClr val="accent2"/>
          </a:fillRef>
          <a:effectRef idx="2">
            <a:schemeClr val="accent2"/>
          </a:effectRef>
          <a:fontRef idx="minor"/>
        </p:style>
      </p:sp>
      <p:sp>
        <p:nvSpPr>
          <p:cNvPr id="270" name="CustomShape 6"/>
          <p:cNvSpPr/>
          <p:nvPr/>
        </p:nvSpPr>
        <p:spPr>
          <a:xfrm>
            <a:off x="1280640" y="10505280"/>
            <a:ext cx="8714880" cy="1378560"/>
          </a:xfrm>
          <a:prstGeom prst="rect">
            <a:avLst/>
          </a:prstGeom>
          <a:noFill/>
          <a:ln>
            <a:noFill/>
          </a:ln>
        </p:spPr>
        <p:style>
          <a:lnRef idx="0">
            <a:scrgbClr r="0" g="0" b="0"/>
          </a:lnRef>
          <a:fillRef idx="0">
            <a:scrgbClr r="0" g="0" b="0"/>
          </a:fillRef>
          <a:effectRef idx="0">
            <a:scrgbClr r="0" g="0" b="0"/>
          </a:effectRef>
          <a:fontRef idx="minor"/>
        </p:style>
        <p:txBody>
          <a:bodyPr lIns="240000" tIns="120000" rIns="240000" bIns="120000"/>
          <a:lstStyle/>
          <a:p>
            <a:pPr defTabSz="1828800" hangingPunct="1">
              <a:lnSpc>
                <a:spcPct val="100000"/>
              </a:lnSpc>
              <a:spcBef>
                <a:spcPts val="0"/>
              </a:spcBef>
            </a:pPr>
            <a:r>
              <a:rPr lang="nl-NL" sz="7466" kern="1200" spc="-2">
                <a:solidFill>
                  <a:srgbClr val="005CFF"/>
                </a:solidFill>
                <a:latin typeface="Campton Book"/>
              </a:rPr>
              <a:t>Advies</a:t>
            </a:r>
            <a:endParaRPr lang="nl-NL" sz="7466" kern="1200" spc="-2">
              <a:solidFill>
                <a:prstClr val="black"/>
              </a:solidFill>
              <a:latin typeface="Arial"/>
            </a:endParaRPr>
          </a:p>
        </p:txBody>
      </p:sp>
      <p:sp>
        <p:nvSpPr>
          <p:cNvPr id="271" name="CustomShape 7"/>
          <p:cNvSpPr/>
          <p:nvPr/>
        </p:nvSpPr>
        <p:spPr>
          <a:xfrm>
            <a:off x="1280640" y="2361600"/>
            <a:ext cx="3310080" cy="356160"/>
          </a:xfrm>
          <a:prstGeom prst="rect">
            <a:avLst/>
          </a:prstGeom>
          <a:solidFill>
            <a:schemeClr val="accent4"/>
          </a:solidFill>
          <a:ln>
            <a:noFill/>
          </a:ln>
          <a:effectLst>
            <a:outerShdw blurRad="40000" dist="23000" dir="5400000" rotWithShape="0">
              <a:srgbClr val="000000">
                <a:alpha val="35000"/>
              </a:srgbClr>
            </a:outerShdw>
          </a:effectLst>
        </p:spPr>
        <p:style>
          <a:lnRef idx="1">
            <a:schemeClr val="accent2"/>
          </a:lnRef>
          <a:fillRef idx="3">
            <a:schemeClr val="accent2"/>
          </a:fillRef>
          <a:effectRef idx="2">
            <a:schemeClr val="accent2"/>
          </a:effectRef>
          <a:fontRef idx="minor"/>
        </p:style>
      </p:sp>
      <p:sp>
        <p:nvSpPr>
          <p:cNvPr id="272" name="CustomShape 8"/>
          <p:cNvSpPr/>
          <p:nvPr/>
        </p:nvSpPr>
        <p:spPr>
          <a:xfrm>
            <a:off x="17019840" y="2717760"/>
            <a:ext cx="8714880" cy="1378560"/>
          </a:xfrm>
          <a:prstGeom prst="rect">
            <a:avLst/>
          </a:prstGeom>
          <a:noFill/>
          <a:ln>
            <a:noFill/>
          </a:ln>
        </p:spPr>
        <p:style>
          <a:lnRef idx="0">
            <a:scrgbClr r="0" g="0" b="0"/>
          </a:lnRef>
          <a:fillRef idx="0">
            <a:scrgbClr r="0" g="0" b="0"/>
          </a:fillRef>
          <a:effectRef idx="0">
            <a:scrgbClr r="0" g="0" b="0"/>
          </a:effectRef>
          <a:fontRef idx="minor"/>
        </p:style>
        <p:txBody>
          <a:bodyPr lIns="240000" tIns="120000" rIns="240000" bIns="120000"/>
          <a:lstStyle/>
          <a:p>
            <a:pPr defTabSz="1828800" hangingPunct="1">
              <a:lnSpc>
                <a:spcPct val="100000"/>
              </a:lnSpc>
              <a:spcBef>
                <a:spcPts val="0"/>
              </a:spcBef>
            </a:pPr>
            <a:r>
              <a:rPr lang="nl-NL" sz="7466" kern="1200" spc="-2" dirty="0">
                <a:solidFill>
                  <a:srgbClr val="ED1B5B"/>
                </a:solidFill>
                <a:latin typeface="Campton Book"/>
              </a:rPr>
              <a:t>Onderwijs</a:t>
            </a:r>
            <a:endParaRPr lang="nl-NL" sz="7466" kern="1200" spc="-2" dirty="0">
              <a:solidFill>
                <a:srgbClr val="ED1B5B"/>
              </a:solidFill>
              <a:latin typeface="Arial"/>
            </a:endParaRPr>
          </a:p>
        </p:txBody>
      </p:sp>
      <p:sp>
        <p:nvSpPr>
          <p:cNvPr id="273" name="CustomShape 9"/>
          <p:cNvSpPr/>
          <p:nvPr/>
        </p:nvSpPr>
        <p:spPr>
          <a:xfrm>
            <a:off x="17532480" y="10100160"/>
            <a:ext cx="3310080" cy="356160"/>
          </a:xfrm>
          <a:prstGeom prst="rect">
            <a:avLst/>
          </a:prstGeom>
          <a:solidFill>
            <a:schemeClr val="accent3"/>
          </a:solidFill>
          <a:ln>
            <a:noFill/>
          </a:ln>
          <a:effectLst>
            <a:outerShdw blurRad="40000" dist="23000" dir="5400000" rotWithShape="0">
              <a:srgbClr val="000000">
                <a:alpha val="35000"/>
              </a:srgbClr>
            </a:outerShdw>
          </a:effectLst>
        </p:spPr>
        <p:style>
          <a:lnRef idx="1">
            <a:schemeClr val="accent2"/>
          </a:lnRef>
          <a:fillRef idx="3">
            <a:schemeClr val="accent2"/>
          </a:fillRef>
          <a:effectRef idx="2">
            <a:schemeClr val="accent2"/>
          </a:effectRef>
          <a:fontRef idx="minor"/>
        </p:style>
      </p:sp>
      <p:sp>
        <p:nvSpPr>
          <p:cNvPr id="274" name="CustomShape 10"/>
          <p:cNvSpPr/>
          <p:nvPr/>
        </p:nvSpPr>
        <p:spPr>
          <a:xfrm>
            <a:off x="17253120" y="10506240"/>
            <a:ext cx="8714880" cy="1378560"/>
          </a:xfrm>
          <a:prstGeom prst="rect">
            <a:avLst/>
          </a:prstGeom>
          <a:noFill/>
          <a:ln>
            <a:noFill/>
          </a:ln>
        </p:spPr>
        <p:style>
          <a:lnRef idx="0">
            <a:scrgbClr r="0" g="0" b="0"/>
          </a:lnRef>
          <a:fillRef idx="0">
            <a:scrgbClr r="0" g="0" b="0"/>
          </a:fillRef>
          <a:effectRef idx="0">
            <a:scrgbClr r="0" g="0" b="0"/>
          </a:effectRef>
          <a:fontRef idx="minor"/>
        </p:style>
        <p:txBody>
          <a:bodyPr lIns="240000" tIns="120000" rIns="240000" bIns="120000"/>
          <a:lstStyle/>
          <a:p>
            <a:pPr defTabSz="1828800" hangingPunct="1">
              <a:lnSpc>
                <a:spcPct val="100000"/>
              </a:lnSpc>
              <a:spcBef>
                <a:spcPts val="0"/>
              </a:spcBef>
            </a:pPr>
            <a:r>
              <a:rPr lang="nl-NL" sz="7466" kern="1200" spc="-2">
                <a:solidFill>
                  <a:srgbClr val="FDB93E"/>
                </a:solidFill>
                <a:latin typeface="Campton Book"/>
              </a:rPr>
              <a:t>Arena</a:t>
            </a:r>
            <a:endParaRPr lang="nl-NL" sz="7466" kern="1200" spc="-2">
              <a:solidFill>
                <a:prstClr val="black"/>
              </a:solidFill>
              <a:latin typeface="Arial"/>
            </a:endParaRPr>
          </a:p>
        </p:txBody>
      </p:sp>
    </p:spTree>
    <p:extLst>
      <p:ext uri="{BB962C8B-B14F-4D97-AF65-F5344CB8AC3E}">
        <p14:creationId xmlns:p14="http://schemas.microsoft.com/office/powerpoint/2010/main" val="3549453892"/>
      </p:ext>
    </p:extLst>
  </p:cSld>
  <p:clrMapOvr>
    <a:masterClrMapping/>
  </p:clrMapOvr>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nl-NL" noProof="0" dirty="0">
                <a:latin typeface="+mj-lt"/>
              </a:rPr>
              <a:t>Transitievraagstuk</a:t>
            </a:r>
          </a:p>
        </p:txBody>
      </p:sp>
      <p:sp>
        <p:nvSpPr>
          <p:cNvPr id="3" name="Content Placeholder 2"/>
          <p:cNvSpPr>
            <a:spLocks noGrp="1"/>
          </p:cNvSpPr>
          <p:nvPr>
            <p:ph type="body" sz="quarter" idx="11"/>
          </p:nvPr>
        </p:nvSpPr>
        <p:spPr>
          <a:xfrm>
            <a:off x="1587130" y="4150187"/>
            <a:ext cx="11000848" cy="9565814"/>
          </a:xfrm>
        </p:spPr>
        <p:txBody>
          <a:bodyPr>
            <a:normAutofit/>
          </a:bodyPr>
          <a:lstStyle/>
          <a:p>
            <a:endParaRPr lang="en-US" sz="3200" i="1" dirty="0">
              <a:latin typeface="+mj-lt"/>
            </a:endParaRPr>
          </a:p>
          <a:p>
            <a:endParaRPr lang="en-US" sz="3200" i="1" dirty="0">
              <a:latin typeface="+mj-lt"/>
            </a:endParaRPr>
          </a:p>
          <a:p>
            <a:endParaRPr lang="en-US" dirty="0">
              <a:latin typeface="+mj-lt"/>
            </a:endParaRPr>
          </a:p>
          <a:p>
            <a:r>
              <a:rPr lang="en-US" sz="4800" dirty="0" err="1">
                <a:latin typeface="+mj-lt"/>
              </a:rPr>
              <a:t>Wanneer</a:t>
            </a:r>
            <a:r>
              <a:rPr lang="en-US" sz="4800" dirty="0">
                <a:latin typeface="+mj-lt"/>
              </a:rPr>
              <a:t> </a:t>
            </a:r>
            <a:r>
              <a:rPr lang="en-US" sz="4800" dirty="0" err="1">
                <a:latin typeface="+mj-lt"/>
              </a:rPr>
              <a:t>verbetering</a:t>
            </a:r>
            <a:r>
              <a:rPr lang="en-US" sz="4800" dirty="0">
                <a:latin typeface="+mj-lt"/>
              </a:rPr>
              <a:t> van het </a:t>
            </a:r>
            <a:r>
              <a:rPr lang="en-US" sz="4800" dirty="0" err="1">
                <a:latin typeface="+mj-lt"/>
              </a:rPr>
              <a:t>bestaande</a:t>
            </a:r>
            <a:r>
              <a:rPr lang="en-US" sz="4800" dirty="0">
                <a:latin typeface="+mj-lt"/>
              </a:rPr>
              <a:t> </a:t>
            </a:r>
            <a:r>
              <a:rPr lang="en-US" sz="4800" dirty="0" err="1">
                <a:latin typeface="+mj-lt"/>
              </a:rPr>
              <a:t>geen</a:t>
            </a:r>
            <a:r>
              <a:rPr lang="en-US" sz="4800" dirty="0">
                <a:latin typeface="+mj-lt"/>
              </a:rPr>
              <a:t> </a:t>
            </a:r>
            <a:r>
              <a:rPr lang="en-US" sz="4800" dirty="0" err="1">
                <a:latin typeface="+mj-lt"/>
              </a:rPr>
              <a:t>oplossing</a:t>
            </a:r>
            <a:r>
              <a:rPr lang="en-US" sz="4800" dirty="0">
                <a:latin typeface="+mj-lt"/>
              </a:rPr>
              <a:t> </a:t>
            </a:r>
            <a:r>
              <a:rPr lang="en-US" sz="4800" dirty="0" err="1">
                <a:latin typeface="+mj-lt"/>
              </a:rPr>
              <a:t>meer</a:t>
            </a:r>
            <a:r>
              <a:rPr lang="en-US" sz="4800" dirty="0">
                <a:latin typeface="+mj-lt"/>
              </a:rPr>
              <a:t> </a:t>
            </a:r>
            <a:r>
              <a:rPr lang="en-US" sz="4800" dirty="0" err="1">
                <a:latin typeface="+mj-lt"/>
              </a:rPr>
              <a:t>biedt</a:t>
            </a:r>
            <a:endParaRPr lang="en-US" sz="4800" dirty="0">
              <a:latin typeface="+mj-lt"/>
            </a:endParaRPr>
          </a:p>
          <a:p>
            <a:endParaRPr lang="en-US" dirty="0">
              <a:latin typeface="+mj-lt"/>
            </a:endParaRPr>
          </a:p>
          <a:p>
            <a:endParaRPr lang="en-US" dirty="0">
              <a:latin typeface="+mj-lt"/>
            </a:endParaRPr>
          </a:p>
          <a:p>
            <a:endParaRPr lang="nl-NL" dirty="0">
              <a:latin typeface="+mj-lt"/>
            </a:endParaRPr>
          </a:p>
        </p:txBody>
      </p:sp>
      <p:sp>
        <p:nvSpPr>
          <p:cNvPr id="7" name="SmartArt Placeholder 6"/>
          <p:cNvSpPr>
            <a:spLocks noGrp="1"/>
          </p:cNvSpPr>
          <p:nvPr>
            <p:ph type="dgm" sz="quarter" idx="12"/>
          </p:nvPr>
        </p:nvSpPr>
        <p:spPr/>
      </p:sp>
      <p:pic>
        <p:nvPicPr>
          <p:cNvPr id="8" name="Picture 7">
            <a:extLst>
              <a:ext uri="{FF2B5EF4-FFF2-40B4-BE49-F238E27FC236}">
                <a16:creationId xmlns:a16="http://schemas.microsoft.com/office/drawing/2014/main" id="{20130051-52AD-4686-9C48-87215F6EFD25}"/>
              </a:ext>
            </a:extLst>
          </p:cNvPr>
          <p:cNvPicPr>
            <a:picLocks noChangeAspect="1"/>
          </p:cNvPicPr>
          <p:nvPr/>
        </p:nvPicPr>
        <p:blipFill>
          <a:blip r:embed="rId3"/>
          <a:stretch>
            <a:fillRect/>
          </a:stretch>
        </p:blipFill>
        <p:spPr>
          <a:xfrm>
            <a:off x="14968457" y="-4232"/>
            <a:ext cx="9195178" cy="13716000"/>
          </a:xfrm>
          <a:prstGeom prst="rect">
            <a:avLst/>
          </a:prstGeom>
        </p:spPr>
      </p:pic>
    </p:spTree>
    <p:extLst>
      <p:ext uri="{BB962C8B-B14F-4D97-AF65-F5344CB8AC3E}">
        <p14:creationId xmlns:p14="http://schemas.microsoft.com/office/powerpoint/2010/main" val="19893059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martArt Placeholder 3">
            <a:extLst>
              <a:ext uri="{FF2B5EF4-FFF2-40B4-BE49-F238E27FC236}">
                <a16:creationId xmlns:a16="http://schemas.microsoft.com/office/drawing/2014/main" id="{5A3A9996-76BD-CDDF-9675-9E3A8A5A3A91}"/>
              </a:ext>
            </a:extLst>
          </p:cNvPr>
          <p:cNvSpPr>
            <a:spLocks noGrp="1"/>
          </p:cNvSpPr>
          <p:nvPr>
            <p:ph type="dgm" sz="quarter" idx="12"/>
          </p:nvPr>
        </p:nvSpPr>
        <p:spPr/>
      </p:sp>
      <p:pic>
        <p:nvPicPr>
          <p:cNvPr id="5" name="Picture 4" descr="A picture containing text&#10;&#10;Description automatically generated">
            <a:extLst>
              <a:ext uri="{FF2B5EF4-FFF2-40B4-BE49-F238E27FC236}">
                <a16:creationId xmlns:a16="http://schemas.microsoft.com/office/drawing/2014/main" id="{0AA58766-6378-3DEF-04B0-DAE21E5A99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77513" y="3917596"/>
            <a:ext cx="16388314" cy="9358432"/>
          </a:xfrm>
          <a:prstGeom prst="rect">
            <a:avLst/>
          </a:prstGeom>
        </p:spPr>
      </p:pic>
      <p:sp>
        <p:nvSpPr>
          <p:cNvPr id="8" name="Title 1">
            <a:extLst>
              <a:ext uri="{FF2B5EF4-FFF2-40B4-BE49-F238E27FC236}">
                <a16:creationId xmlns:a16="http://schemas.microsoft.com/office/drawing/2014/main" id="{A83709E1-D3AD-16B4-468A-2C5F379D2B33}"/>
              </a:ext>
            </a:extLst>
          </p:cNvPr>
          <p:cNvSpPr txBox="1">
            <a:spLocks/>
          </p:cNvSpPr>
          <p:nvPr/>
        </p:nvSpPr>
        <p:spPr>
          <a:xfrm>
            <a:off x="1815730" y="2897541"/>
            <a:ext cx="20701840" cy="1398278"/>
          </a:xfrm>
          <a:prstGeom prst="rect">
            <a:avLst/>
          </a:prstGeom>
        </p:spPr>
        <p:txBody>
          <a:bodyPr/>
          <a:lstStyle>
            <a:lvl1pPr algn="l" defTabSz="1219170" rtl="0" eaLnBrk="1" latinLnBrk="0" hangingPunct="1">
              <a:lnSpc>
                <a:spcPct val="90000"/>
              </a:lnSpc>
              <a:spcBef>
                <a:spcPct val="0"/>
              </a:spcBef>
              <a:buNone/>
              <a:defRPr lang="en-US" sz="2667" b="1" kern="1200" dirty="0" smtClean="0">
                <a:solidFill>
                  <a:schemeClr val="tx1"/>
                </a:solidFill>
                <a:latin typeface="Campton Book" panose="00000800000000000000" pitchFamily="50" charset="0"/>
                <a:ea typeface="+mj-ea"/>
                <a:cs typeface="+mj-cs"/>
              </a:defRPr>
            </a:lvl1pPr>
          </a:lstStyle>
          <a:p>
            <a:pPr defTabSz="2438340"/>
            <a:r>
              <a:rPr lang="nl-NL" sz="5334" dirty="0">
                <a:solidFill>
                  <a:prstClr val="black"/>
                </a:solidFill>
                <a:latin typeface="Calibri Light" panose="020F0302020204030204"/>
              </a:rPr>
              <a:t>Transities: dynamiek van opbouw en afbraak</a:t>
            </a:r>
          </a:p>
        </p:txBody>
      </p:sp>
    </p:spTree>
    <p:extLst>
      <p:ext uri="{BB962C8B-B14F-4D97-AF65-F5344CB8AC3E}">
        <p14:creationId xmlns:p14="http://schemas.microsoft.com/office/powerpoint/2010/main" val="14283774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032A500C-0D56-49C4-8322-A22F43F40B85}"/>
              </a:ext>
            </a:extLst>
          </p:cNvPr>
          <p:cNvSpPr>
            <a:spLocks noGrp="1"/>
          </p:cNvSpPr>
          <p:nvPr>
            <p:ph type="pic" sz="quarter" idx="13"/>
          </p:nvPr>
        </p:nvSpPr>
        <p:spPr/>
      </p:sp>
      <p:sp>
        <p:nvSpPr>
          <p:cNvPr id="3" name="Title 2">
            <a:extLst>
              <a:ext uri="{FF2B5EF4-FFF2-40B4-BE49-F238E27FC236}">
                <a16:creationId xmlns:a16="http://schemas.microsoft.com/office/drawing/2014/main" id="{85C10A17-0DBD-6B30-10BE-44FFE6B5459A}"/>
              </a:ext>
            </a:extLst>
          </p:cNvPr>
          <p:cNvSpPr>
            <a:spLocks noGrp="1"/>
          </p:cNvSpPr>
          <p:nvPr>
            <p:ph type="title"/>
          </p:nvPr>
        </p:nvSpPr>
        <p:spPr>
          <a:xfrm>
            <a:off x="6523199" y="711205"/>
            <a:ext cx="17841894" cy="856338"/>
          </a:xfrm>
        </p:spPr>
        <p:txBody>
          <a:bodyPr/>
          <a:lstStyle/>
          <a:p>
            <a:r>
              <a:rPr lang="en-US" dirty="0">
                <a:latin typeface="+mj-lt"/>
              </a:rPr>
              <a:t>Biobased </a:t>
            </a:r>
            <a:r>
              <a:rPr lang="en-US" dirty="0" err="1">
                <a:latin typeface="+mj-lt"/>
              </a:rPr>
              <a:t>Bouwen</a:t>
            </a:r>
            <a:r>
              <a:rPr lang="en-US" dirty="0">
                <a:latin typeface="+mj-lt"/>
              </a:rPr>
              <a:t> </a:t>
            </a:r>
            <a:r>
              <a:rPr lang="en-US" dirty="0" err="1">
                <a:latin typeface="+mj-lt"/>
              </a:rPr>
              <a:t>raakt</a:t>
            </a:r>
            <a:r>
              <a:rPr lang="en-US" dirty="0">
                <a:latin typeface="+mj-lt"/>
              </a:rPr>
              <a:t> </a:t>
            </a:r>
            <a:r>
              <a:rPr lang="en-US" dirty="0" err="1">
                <a:latin typeface="+mj-lt"/>
              </a:rPr>
              <a:t>aan</a:t>
            </a:r>
            <a:r>
              <a:rPr lang="en-US" dirty="0">
                <a:latin typeface="+mj-lt"/>
              </a:rPr>
              <a:t> </a:t>
            </a:r>
            <a:r>
              <a:rPr lang="en-US" dirty="0" err="1">
                <a:latin typeface="+mj-lt"/>
              </a:rPr>
              <a:t>meerdere</a:t>
            </a:r>
            <a:r>
              <a:rPr lang="en-US" dirty="0">
                <a:latin typeface="+mj-lt"/>
              </a:rPr>
              <a:t> </a:t>
            </a:r>
            <a:r>
              <a:rPr lang="en-US" dirty="0" err="1">
                <a:latin typeface="+mj-lt"/>
              </a:rPr>
              <a:t>transitieopgaven</a:t>
            </a:r>
            <a:endParaRPr lang="nl-NL" dirty="0">
              <a:latin typeface="+mj-lt"/>
            </a:endParaRPr>
          </a:p>
        </p:txBody>
      </p:sp>
      <p:pic>
        <p:nvPicPr>
          <p:cNvPr id="4" name="Picture 3">
            <a:extLst>
              <a:ext uri="{FF2B5EF4-FFF2-40B4-BE49-F238E27FC236}">
                <a16:creationId xmlns:a16="http://schemas.microsoft.com/office/drawing/2014/main" id="{2F403291-765F-71D7-1E97-8D277E7787F9}"/>
              </a:ext>
            </a:extLst>
          </p:cNvPr>
          <p:cNvPicPr>
            <a:picLocks noChangeAspect="1"/>
          </p:cNvPicPr>
          <p:nvPr/>
        </p:nvPicPr>
        <p:blipFill>
          <a:blip r:embed="rId3"/>
          <a:stretch>
            <a:fillRect/>
          </a:stretch>
        </p:blipFill>
        <p:spPr>
          <a:xfrm>
            <a:off x="269767" y="2573273"/>
            <a:ext cx="8833662" cy="5918118"/>
          </a:xfrm>
          <a:prstGeom prst="rect">
            <a:avLst/>
          </a:prstGeom>
        </p:spPr>
      </p:pic>
      <p:pic>
        <p:nvPicPr>
          <p:cNvPr id="5" name="Picture 4">
            <a:extLst>
              <a:ext uri="{FF2B5EF4-FFF2-40B4-BE49-F238E27FC236}">
                <a16:creationId xmlns:a16="http://schemas.microsoft.com/office/drawing/2014/main" id="{DF04EBB9-A765-8A63-8CD9-2EF8EF604EB5}"/>
              </a:ext>
            </a:extLst>
          </p:cNvPr>
          <p:cNvPicPr>
            <a:picLocks noChangeAspect="1"/>
          </p:cNvPicPr>
          <p:nvPr/>
        </p:nvPicPr>
        <p:blipFill>
          <a:blip r:embed="rId4"/>
          <a:stretch>
            <a:fillRect/>
          </a:stretch>
        </p:blipFill>
        <p:spPr>
          <a:xfrm>
            <a:off x="12191999" y="2429575"/>
            <a:ext cx="8764222" cy="5546026"/>
          </a:xfrm>
          <a:prstGeom prst="rect">
            <a:avLst/>
          </a:prstGeom>
        </p:spPr>
      </p:pic>
      <p:pic>
        <p:nvPicPr>
          <p:cNvPr id="6" name="Picture 5">
            <a:extLst>
              <a:ext uri="{FF2B5EF4-FFF2-40B4-BE49-F238E27FC236}">
                <a16:creationId xmlns:a16="http://schemas.microsoft.com/office/drawing/2014/main" id="{35E774B1-88F8-3631-BA8B-884A93E3248F}"/>
              </a:ext>
            </a:extLst>
          </p:cNvPr>
          <p:cNvPicPr>
            <a:picLocks noChangeAspect="1"/>
          </p:cNvPicPr>
          <p:nvPr/>
        </p:nvPicPr>
        <p:blipFill>
          <a:blip r:embed="rId5"/>
          <a:stretch>
            <a:fillRect/>
          </a:stretch>
        </p:blipFill>
        <p:spPr>
          <a:xfrm>
            <a:off x="5100157" y="7726720"/>
            <a:ext cx="8006546" cy="5746228"/>
          </a:xfrm>
          <a:prstGeom prst="rect">
            <a:avLst/>
          </a:prstGeom>
        </p:spPr>
      </p:pic>
      <p:pic>
        <p:nvPicPr>
          <p:cNvPr id="7" name="Picture 6">
            <a:extLst>
              <a:ext uri="{FF2B5EF4-FFF2-40B4-BE49-F238E27FC236}">
                <a16:creationId xmlns:a16="http://schemas.microsoft.com/office/drawing/2014/main" id="{F2493D4E-EFD9-1684-5B56-9795FF3DC677}"/>
              </a:ext>
            </a:extLst>
          </p:cNvPr>
          <p:cNvPicPr>
            <a:picLocks noChangeAspect="1"/>
          </p:cNvPicPr>
          <p:nvPr/>
        </p:nvPicPr>
        <p:blipFill>
          <a:blip r:embed="rId6"/>
          <a:stretch>
            <a:fillRect/>
          </a:stretch>
        </p:blipFill>
        <p:spPr>
          <a:xfrm>
            <a:off x="15909119" y="7631749"/>
            <a:ext cx="8455974" cy="5936170"/>
          </a:xfrm>
          <a:prstGeom prst="rect">
            <a:avLst/>
          </a:prstGeom>
        </p:spPr>
      </p:pic>
    </p:spTree>
    <p:extLst>
      <p:ext uri="{BB962C8B-B14F-4D97-AF65-F5344CB8AC3E}">
        <p14:creationId xmlns:p14="http://schemas.microsoft.com/office/powerpoint/2010/main" val="4800176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FE475D-4C42-0F60-1515-C6448AD2F4A7}"/>
              </a:ext>
            </a:extLst>
          </p:cNvPr>
          <p:cNvSpPr>
            <a:spLocks noGrp="1"/>
          </p:cNvSpPr>
          <p:nvPr>
            <p:ph type="title"/>
          </p:nvPr>
        </p:nvSpPr>
        <p:spPr/>
        <p:txBody>
          <a:bodyPr/>
          <a:lstStyle/>
          <a:p>
            <a:r>
              <a:rPr lang="en-US" dirty="0">
                <a:latin typeface="+mj-lt"/>
              </a:rPr>
              <a:t>Biobased </a:t>
            </a:r>
            <a:r>
              <a:rPr lang="en-US" dirty="0" err="1">
                <a:latin typeface="+mj-lt"/>
              </a:rPr>
              <a:t>bouwen</a:t>
            </a:r>
            <a:r>
              <a:rPr lang="en-US" dirty="0">
                <a:latin typeface="+mj-lt"/>
              </a:rPr>
              <a:t>: diverse </a:t>
            </a:r>
            <a:r>
              <a:rPr lang="en-US" dirty="0" err="1">
                <a:latin typeface="+mj-lt"/>
              </a:rPr>
              <a:t>transities</a:t>
            </a:r>
            <a:r>
              <a:rPr lang="en-US" dirty="0">
                <a:latin typeface="+mj-lt"/>
              </a:rPr>
              <a:t> </a:t>
            </a:r>
            <a:r>
              <a:rPr lang="en-US" dirty="0" err="1">
                <a:latin typeface="+mj-lt"/>
              </a:rPr>
              <a:t>komen</a:t>
            </a:r>
            <a:r>
              <a:rPr lang="en-US" dirty="0">
                <a:latin typeface="+mj-lt"/>
              </a:rPr>
              <a:t> </a:t>
            </a:r>
            <a:r>
              <a:rPr lang="en-US" dirty="0" err="1">
                <a:latin typeface="+mj-lt"/>
              </a:rPr>
              <a:t>samen</a:t>
            </a:r>
            <a:endParaRPr lang="nl-NL" dirty="0">
              <a:latin typeface="+mj-lt"/>
            </a:endParaRPr>
          </a:p>
        </p:txBody>
      </p:sp>
      <p:sp>
        <p:nvSpPr>
          <p:cNvPr id="3" name="Text Placeholder 2">
            <a:extLst>
              <a:ext uri="{FF2B5EF4-FFF2-40B4-BE49-F238E27FC236}">
                <a16:creationId xmlns:a16="http://schemas.microsoft.com/office/drawing/2014/main" id="{606003B8-E902-6471-CA6B-1C616C6C3191}"/>
              </a:ext>
            </a:extLst>
          </p:cNvPr>
          <p:cNvSpPr>
            <a:spLocks noGrp="1"/>
          </p:cNvSpPr>
          <p:nvPr>
            <p:ph type="body" sz="quarter" idx="11"/>
          </p:nvPr>
        </p:nvSpPr>
        <p:spPr/>
        <p:txBody>
          <a:bodyPr/>
          <a:lstStyle/>
          <a:p>
            <a:endParaRPr lang="en-US" dirty="0"/>
          </a:p>
          <a:p>
            <a:r>
              <a:rPr lang="en-US" b="1" dirty="0" err="1"/>
              <a:t>Grondstoffen</a:t>
            </a:r>
            <a:endParaRPr lang="en-US" b="1" dirty="0"/>
          </a:p>
          <a:p>
            <a:endParaRPr lang="en-US" b="1" dirty="0"/>
          </a:p>
          <a:p>
            <a:r>
              <a:rPr lang="en-US" b="1" dirty="0" err="1"/>
              <a:t>Landbouw</a:t>
            </a:r>
            <a:endParaRPr lang="en-US" b="1" dirty="0"/>
          </a:p>
          <a:p>
            <a:endParaRPr lang="en-US" b="1" dirty="0"/>
          </a:p>
          <a:p>
            <a:r>
              <a:rPr lang="en-US" b="1" dirty="0"/>
              <a:t>Energie</a:t>
            </a:r>
          </a:p>
          <a:p>
            <a:endParaRPr lang="en-US" b="1" dirty="0"/>
          </a:p>
          <a:p>
            <a:r>
              <a:rPr lang="en-US" b="1" dirty="0" err="1"/>
              <a:t>Gezondheid</a:t>
            </a:r>
            <a:endParaRPr lang="en-US" b="1" dirty="0"/>
          </a:p>
        </p:txBody>
      </p:sp>
      <p:sp>
        <p:nvSpPr>
          <p:cNvPr id="4" name="SmartArt Placeholder 3">
            <a:extLst>
              <a:ext uri="{FF2B5EF4-FFF2-40B4-BE49-F238E27FC236}">
                <a16:creationId xmlns:a16="http://schemas.microsoft.com/office/drawing/2014/main" id="{5A3A9996-76BD-CDDF-9675-9E3A8A5A3A91}"/>
              </a:ext>
            </a:extLst>
          </p:cNvPr>
          <p:cNvSpPr>
            <a:spLocks noGrp="1"/>
          </p:cNvSpPr>
          <p:nvPr>
            <p:ph type="dgm" sz="quarter" idx="12"/>
          </p:nvPr>
        </p:nvSpPr>
        <p:spPr/>
      </p:sp>
      <p:pic>
        <p:nvPicPr>
          <p:cNvPr id="5" name="Picture 4" descr="A picture containing text&#10;&#10;Description automatically generated">
            <a:extLst>
              <a:ext uri="{FF2B5EF4-FFF2-40B4-BE49-F238E27FC236}">
                <a16:creationId xmlns:a16="http://schemas.microsoft.com/office/drawing/2014/main" id="{0AA58766-6378-3DEF-04B0-DAE21E5A99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62703" y="3938187"/>
            <a:ext cx="16009462" cy="9142090"/>
          </a:xfrm>
          <a:prstGeom prst="rect">
            <a:avLst/>
          </a:prstGeom>
        </p:spPr>
      </p:pic>
    </p:spTree>
    <p:extLst>
      <p:ext uri="{BB962C8B-B14F-4D97-AF65-F5344CB8AC3E}">
        <p14:creationId xmlns:p14="http://schemas.microsoft.com/office/powerpoint/2010/main" val="32445236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FE475D-4C42-0F60-1515-C6448AD2F4A7}"/>
              </a:ext>
            </a:extLst>
          </p:cNvPr>
          <p:cNvSpPr>
            <a:spLocks noGrp="1"/>
          </p:cNvSpPr>
          <p:nvPr>
            <p:ph type="title"/>
          </p:nvPr>
        </p:nvSpPr>
        <p:spPr/>
        <p:txBody>
          <a:bodyPr/>
          <a:lstStyle/>
          <a:p>
            <a:r>
              <a:rPr lang="en-US" dirty="0">
                <a:latin typeface="+mj-lt"/>
              </a:rPr>
              <a:t>Wat is de </a:t>
            </a:r>
            <a:r>
              <a:rPr lang="en-US" dirty="0" err="1">
                <a:latin typeface="+mj-lt"/>
              </a:rPr>
              <a:t>staat</a:t>
            </a:r>
            <a:r>
              <a:rPr lang="en-US" dirty="0">
                <a:latin typeface="+mj-lt"/>
              </a:rPr>
              <a:t> van </a:t>
            </a:r>
            <a:r>
              <a:rPr lang="en-US" dirty="0" err="1">
                <a:latin typeface="+mj-lt"/>
              </a:rPr>
              <a:t>transitie</a:t>
            </a:r>
            <a:r>
              <a:rPr lang="en-US" dirty="0">
                <a:latin typeface="+mj-lt"/>
              </a:rPr>
              <a:t>?</a:t>
            </a:r>
            <a:endParaRPr lang="nl-NL" dirty="0">
              <a:latin typeface="+mj-lt"/>
            </a:endParaRPr>
          </a:p>
        </p:txBody>
      </p:sp>
      <p:sp>
        <p:nvSpPr>
          <p:cNvPr id="4" name="SmartArt Placeholder 3">
            <a:extLst>
              <a:ext uri="{FF2B5EF4-FFF2-40B4-BE49-F238E27FC236}">
                <a16:creationId xmlns:a16="http://schemas.microsoft.com/office/drawing/2014/main" id="{5A3A9996-76BD-CDDF-9675-9E3A8A5A3A91}"/>
              </a:ext>
            </a:extLst>
          </p:cNvPr>
          <p:cNvSpPr>
            <a:spLocks noGrp="1"/>
          </p:cNvSpPr>
          <p:nvPr>
            <p:ph type="dgm" sz="quarter" idx="12"/>
          </p:nvPr>
        </p:nvSpPr>
        <p:spPr/>
      </p:sp>
      <p:pic>
        <p:nvPicPr>
          <p:cNvPr id="5" name="Picture 4" descr="A picture containing text&#10;&#10;Description automatically generated">
            <a:extLst>
              <a:ext uri="{FF2B5EF4-FFF2-40B4-BE49-F238E27FC236}">
                <a16:creationId xmlns:a16="http://schemas.microsoft.com/office/drawing/2014/main" id="{0AA58766-6378-3DEF-04B0-DAE21E5A99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77513" y="3917596"/>
            <a:ext cx="16388314" cy="9358432"/>
          </a:xfrm>
          <a:prstGeom prst="rect">
            <a:avLst/>
          </a:prstGeom>
        </p:spPr>
      </p:pic>
    </p:spTree>
    <p:extLst>
      <p:ext uri="{BB962C8B-B14F-4D97-AF65-F5344CB8AC3E}">
        <p14:creationId xmlns:p14="http://schemas.microsoft.com/office/powerpoint/2010/main" val="6313601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EBC2CDC-5EB4-0C1B-C800-4723E3BBF32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30763" y="4150188"/>
            <a:ext cx="11953238" cy="890719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6BADB293-E45D-3601-FB80-9C67A2F70DCF}"/>
              </a:ext>
            </a:extLst>
          </p:cNvPr>
          <p:cNvSpPr>
            <a:spLocks noGrp="1"/>
          </p:cNvSpPr>
          <p:nvPr>
            <p:ph type="title"/>
          </p:nvPr>
        </p:nvSpPr>
        <p:spPr/>
        <p:txBody>
          <a:bodyPr/>
          <a:lstStyle/>
          <a:p>
            <a:r>
              <a:rPr lang="en-US" dirty="0">
                <a:latin typeface="+mj-lt"/>
              </a:rPr>
              <a:t>Maar we </a:t>
            </a:r>
            <a:r>
              <a:rPr lang="en-US" dirty="0" err="1">
                <a:latin typeface="+mj-lt"/>
              </a:rPr>
              <a:t>staan</a:t>
            </a:r>
            <a:r>
              <a:rPr lang="en-US" dirty="0">
                <a:latin typeface="+mj-lt"/>
              </a:rPr>
              <a:t> </a:t>
            </a:r>
            <a:r>
              <a:rPr lang="en-US" dirty="0" err="1">
                <a:latin typeface="+mj-lt"/>
              </a:rPr>
              <a:t>nog</a:t>
            </a:r>
            <a:r>
              <a:rPr lang="en-US" dirty="0">
                <a:latin typeface="+mj-lt"/>
              </a:rPr>
              <a:t> </a:t>
            </a:r>
            <a:r>
              <a:rPr lang="en-US" dirty="0" err="1">
                <a:latin typeface="+mj-lt"/>
              </a:rPr>
              <a:t>aan</a:t>
            </a:r>
            <a:r>
              <a:rPr lang="en-US" dirty="0">
                <a:latin typeface="+mj-lt"/>
              </a:rPr>
              <a:t> het begin….</a:t>
            </a:r>
            <a:endParaRPr lang="nl-NL" dirty="0">
              <a:latin typeface="+mj-lt"/>
            </a:endParaRPr>
          </a:p>
        </p:txBody>
      </p:sp>
      <p:sp>
        <p:nvSpPr>
          <p:cNvPr id="3" name="Text Placeholder 2">
            <a:extLst>
              <a:ext uri="{FF2B5EF4-FFF2-40B4-BE49-F238E27FC236}">
                <a16:creationId xmlns:a16="http://schemas.microsoft.com/office/drawing/2014/main" id="{CDA8D7D0-48B5-E203-3484-B8DF34202D85}"/>
              </a:ext>
            </a:extLst>
          </p:cNvPr>
          <p:cNvSpPr>
            <a:spLocks noGrp="1"/>
          </p:cNvSpPr>
          <p:nvPr>
            <p:ph type="body" sz="quarter" idx="11"/>
          </p:nvPr>
        </p:nvSpPr>
        <p:spPr>
          <a:xfrm>
            <a:off x="1816101" y="4491571"/>
            <a:ext cx="11953238" cy="8588706"/>
          </a:xfrm>
        </p:spPr>
        <p:txBody>
          <a:bodyPr/>
          <a:lstStyle/>
          <a:p>
            <a:r>
              <a:rPr lang="en-US" dirty="0" err="1">
                <a:latin typeface="+mj-lt"/>
              </a:rPr>
              <a:t>Deze</a:t>
            </a:r>
            <a:r>
              <a:rPr lang="en-US" dirty="0">
                <a:latin typeface="+mj-lt"/>
              </a:rPr>
              <a:t> </a:t>
            </a:r>
            <a:r>
              <a:rPr lang="en-US" dirty="0" err="1">
                <a:latin typeface="+mj-lt"/>
              </a:rPr>
              <a:t>fase</a:t>
            </a:r>
            <a:r>
              <a:rPr lang="en-US" dirty="0">
                <a:latin typeface="+mj-lt"/>
              </a:rPr>
              <a:t> van </a:t>
            </a:r>
            <a:r>
              <a:rPr lang="en-US" dirty="0" err="1">
                <a:latin typeface="+mj-lt"/>
              </a:rPr>
              <a:t>een</a:t>
            </a:r>
            <a:r>
              <a:rPr lang="en-US" dirty="0">
                <a:latin typeface="+mj-lt"/>
              </a:rPr>
              <a:t> </a:t>
            </a:r>
            <a:r>
              <a:rPr lang="en-US" dirty="0" err="1">
                <a:latin typeface="+mj-lt"/>
              </a:rPr>
              <a:t>transitie</a:t>
            </a:r>
            <a:r>
              <a:rPr lang="en-US" dirty="0">
                <a:latin typeface="+mj-lt"/>
              </a:rPr>
              <a:t> </a:t>
            </a:r>
            <a:r>
              <a:rPr lang="en-US" dirty="0" err="1">
                <a:latin typeface="+mj-lt"/>
              </a:rPr>
              <a:t>vraagt</a:t>
            </a:r>
            <a:r>
              <a:rPr lang="en-US" dirty="0">
                <a:latin typeface="+mj-lt"/>
              </a:rPr>
              <a:t> </a:t>
            </a:r>
            <a:r>
              <a:rPr lang="en-US" dirty="0" err="1">
                <a:latin typeface="+mj-lt"/>
              </a:rPr>
              <a:t>niet</a:t>
            </a:r>
            <a:r>
              <a:rPr lang="en-US" dirty="0">
                <a:latin typeface="+mj-lt"/>
              </a:rPr>
              <a:t> om…</a:t>
            </a:r>
          </a:p>
          <a:p>
            <a:pPr marL="685800" indent="-685800">
              <a:buFontTx/>
              <a:buChar char="-"/>
            </a:pPr>
            <a:r>
              <a:rPr lang="en-US" dirty="0">
                <a:latin typeface="+mj-lt"/>
              </a:rPr>
              <a:t>Consensus</a:t>
            </a:r>
          </a:p>
          <a:p>
            <a:pPr marL="685800" indent="-685800">
              <a:buFontTx/>
              <a:buChar char="-"/>
            </a:pPr>
            <a:r>
              <a:rPr lang="en-US" dirty="0">
                <a:latin typeface="+mj-lt"/>
              </a:rPr>
              <a:t>(polder)</a:t>
            </a:r>
            <a:r>
              <a:rPr lang="en-US" dirty="0" err="1">
                <a:latin typeface="+mj-lt"/>
              </a:rPr>
              <a:t>akkoorden</a:t>
            </a:r>
            <a:endParaRPr lang="en-US" dirty="0">
              <a:latin typeface="+mj-lt"/>
            </a:endParaRPr>
          </a:p>
          <a:p>
            <a:pPr marL="685800" indent="-685800">
              <a:buFontTx/>
              <a:buChar char="-"/>
            </a:pPr>
            <a:r>
              <a:rPr lang="en-US" dirty="0">
                <a:latin typeface="+mj-lt"/>
              </a:rPr>
              <a:t>De</a:t>
            </a:r>
            <a:r>
              <a:rPr lang="en-US" i="1" dirty="0">
                <a:latin typeface="+mj-lt"/>
              </a:rPr>
              <a:t> </a:t>
            </a:r>
            <a:r>
              <a:rPr lang="en-US" i="1" dirty="0" err="1">
                <a:latin typeface="+mj-lt"/>
              </a:rPr>
              <a:t>perfecte</a:t>
            </a:r>
            <a:r>
              <a:rPr lang="en-US" i="1" dirty="0">
                <a:latin typeface="+mj-lt"/>
              </a:rPr>
              <a:t> </a:t>
            </a:r>
            <a:r>
              <a:rPr lang="en-US" dirty="0" err="1">
                <a:latin typeface="+mj-lt"/>
              </a:rPr>
              <a:t>oplossing</a:t>
            </a:r>
            <a:endParaRPr lang="en-US" dirty="0">
              <a:latin typeface="+mj-lt"/>
            </a:endParaRPr>
          </a:p>
          <a:p>
            <a:pPr marL="685800" indent="-685800">
              <a:buFontTx/>
              <a:buChar char="-"/>
            </a:pPr>
            <a:endParaRPr lang="en-US" dirty="0">
              <a:latin typeface="+mj-lt"/>
            </a:endParaRPr>
          </a:p>
          <a:p>
            <a:r>
              <a:rPr lang="en-US" dirty="0">
                <a:latin typeface="+mj-lt"/>
              </a:rPr>
              <a:t>Nu is het </a:t>
            </a:r>
            <a:r>
              <a:rPr lang="en-US" dirty="0" err="1">
                <a:latin typeface="+mj-lt"/>
              </a:rPr>
              <a:t>tijd</a:t>
            </a:r>
            <a:r>
              <a:rPr lang="en-US" dirty="0">
                <a:latin typeface="+mj-lt"/>
              </a:rPr>
              <a:t> </a:t>
            </a:r>
            <a:r>
              <a:rPr lang="en-US" dirty="0" err="1">
                <a:latin typeface="+mj-lt"/>
              </a:rPr>
              <a:t>voor</a:t>
            </a:r>
            <a:r>
              <a:rPr lang="en-US" dirty="0">
                <a:latin typeface="+mj-lt"/>
              </a:rPr>
              <a:t>:</a:t>
            </a:r>
          </a:p>
          <a:p>
            <a:pPr marL="685800" indent="-685800">
              <a:buFontTx/>
              <a:buChar char="-"/>
            </a:pPr>
            <a:r>
              <a:rPr lang="en-US" dirty="0" err="1">
                <a:latin typeface="+mj-lt"/>
              </a:rPr>
              <a:t>Diversiteit</a:t>
            </a:r>
            <a:r>
              <a:rPr lang="en-US" dirty="0">
                <a:latin typeface="+mj-lt"/>
              </a:rPr>
              <a:t>: </a:t>
            </a:r>
            <a:r>
              <a:rPr lang="en-US" dirty="0" err="1">
                <a:latin typeface="+mj-lt"/>
              </a:rPr>
              <a:t>variatie</a:t>
            </a:r>
            <a:r>
              <a:rPr lang="en-US" dirty="0">
                <a:latin typeface="+mj-lt"/>
              </a:rPr>
              <a:t> en </a:t>
            </a:r>
            <a:r>
              <a:rPr lang="en-US" dirty="0" err="1">
                <a:latin typeface="+mj-lt"/>
              </a:rPr>
              <a:t>selectie</a:t>
            </a:r>
            <a:endParaRPr lang="en-US" dirty="0">
              <a:latin typeface="+mj-lt"/>
            </a:endParaRPr>
          </a:p>
          <a:p>
            <a:pPr marL="685800" indent="-685800">
              <a:buFontTx/>
              <a:buChar char="-"/>
            </a:pPr>
            <a:r>
              <a:rPr lang="en-US" dirty="0" err="1">
                <a:latin typeface="+mj-lt"/>
              </a:rPr>
              <a:t>Stap</a:t>
            </a:r>
            <a:r>
              <a:rPr lang="en-US" dirty="0">
                <a:latin typeface="+mj-lt"/>
              </a:rPr>
              <a:t> </a:t>
            </a:r>
            <a:r>
              <a:rPr lang="en-US" dirty="0" err="1">
                <a:latin typeface="+mj-lt"/>
              </a:rPr>
              <a:t>voor</a:t>
            </a:r>
            <a:r>
              <a:rPr lang="en-US" dirty="0">
                <a:latin typeface="+mj-lt"/>
              </a:rPr>
              <a:t> </a:t>
            </a:r>
            <a:r>
              <a:rPr lang="en-US" dirty="0" err="1">
                <a:latin typeface="+mj-lt"/>
              </a:rPr>
              <a:t>stap</a:t>
            </a:r>
            <a:r>
              <a:rPr lang="en-US" dirty="0">
                <a:latin typeface="+mj-lt"/>
              </a:rPr>
              <a:t> </a:t>
            </a:r>
            <a:r>
              <a:rPr lang="en-US" dirty="0" err="1">
                <a:latin typeface="+mj-lt"/>
              </a:rPr>
              <a:t>beweging</a:t>
            </a:r>
            <a:r>
              <a:rPr lang="en-US" dirty="0">
                <a:latin typeface="+mj-lt"/>
              </a:rPr>
              <a:t> laten </a:t>
            </a:r>
            <a:r>
              <a:rPr lang="en-US" dirty="0" err="1">
                <a:latin typeface="+mj-lt"/>
              </a:rPr>
              <a:t>groeien</a:t>
            </a:r>
            <a:endParaRPr lang="en-US" dirty="0">
              <a:latin typeface="+mj-lt"/>
            </a:endParaRPr>
          </a:p>
          <a:p>
            <a:pPr marL="685800" indent="-685800">
              <a:buFontTx/>
              <a:buChar char="-"/>
            </a:pPr>
            <a:r>
              <a:rPr lang="en-US" dirty="0" err="1">
                <a:latin typeface="+mj-lt"/>
              </a:rPr>
              <a:t>Ongewone</a:t>
            </a:r>
            <a:r>
              <a:rPr lang="en-US" dirty="0">
                <a:latin typeface="+mj-lt"/>
              </a:rPr>
              <a:t> </a:t>
            </a:r>
            <a:r>
              <a:rPr lang="en-US" dirty="0" err="1">
                <a:latin typeface="+mj-lt"/>
              </a:rPr>
              <a:t>coalities</a:t>
            </a:r>
            <a:r>
              <a:rPr lang="en-US" dirty="0">
                <a:latin typeface="+mj-lt"/>
              </a:rPr>
              <a:t> en </a:t>
            </a:r>
            <a:r>
              <a:rPr lang="en-US" dirty="0" err="1">
                <a:latin typeface="+mj-lt"/>
              </a:rPr>
              <a:t>doorbraakprojecten</a:t>
            </a:r>
            <a:endParaRPr lang="en-US" dirty="0">
              <a:latin typeface="+mj-lt"/>
            </a:endParaRPr>
          </a:p>
          <a:p>
            <a:pPr marL="685800" indent="-685800">
              <a:buFontTx/>
              <a:buChar char="-"/>
            </a:pPr>
            <a:endParaRPr lang="nl-NL" dirty="0">
              <a:latin typeface="+mj-lt"/>
            </a:endParaRPr>
          </a:p>
        </p:txBody>
      </p:sp>
      <p:sp>
        <p:nvSpPr>
          <p:cNvPr id="4" name="SmartArt Placeholder 3">
            <a:extLst>
              <a:ext uri="{FF2B5EF4-FFF2-40B4-BE49-F238E27FC236}">
                <a16:creationId xmlns:a16="http://schemas.microsoft.com/office/drawing/2014/main" id="{A9CE97A6-DDC2-8657-39CD-335D5774E0C8}"/>
              </a:ext>
            </a:extLst>
          </p:cNvPr>
          <p:cNvSpPr>
            <a:spLocks noGrp="1"/>
          </p:cNvSpPr>
          <p:nvPr>
            <p:ph type="dgm" sz="quarter" idx="12"/>
          </p:nvPr>
        </p:nvSpPr>
        <p:spPr/>
      </p:sp>
    </p:spTree>
    <p:extLst>
      <p:ext uri="{BB962C8B-B14F-4D97-AF65-F5344CB8AC3E}">
        <p14:creationId xmlns:p14="http://schemas.microsoft.com/office/powerpoint/2010/main" val="33943421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589B26-65DD-8774-C217-E7BB5121831D}"/>
              </a:ext>
            </a:extLst>
          </p:cNvPr>
          <p:cNvSpPr>
            <a:spLocks noGrp="1"/>
          </p:cNvSpPr>
          <p:nvPr>
            <p:ph type="title"/>
          </p:nvPr>
        </p:nvSpPr>
        <p:spPr/>
        <p:txBody>
          <a:bodyPr/>
          <a:lstStyle/>
          <a:p>
            <a:r>
              <a:rPr lang="en-US" dirty="0" err="1">
                <a:latin typeface="+mj-lt"/>
              </a:rPr>
              <a:t>Doorbraakprojecten</a:t>
            </a:r>
            <a:r>
              <a:rPr lang="en-US" dirty="0">
                <a:latin typeface="+mj-lt"/>
              </a:rPr>
              <a:t> </a:t>
            </a:r>
            <a:r>
              <a:rPr lang="en-US" dirty="0" err="1">
                <a:latin typeface="+mj-lt"/>
              </a:rPr>
              <a:t>gezocht</a:t>
            </a:r>
            <a:endParaRPr lang="nl-NL" dirty="0">
              <a:latin typeface="+mj-lt"/>
            </a:endParaRPr>
          </a:p>
        </p:txBody>
      </p:sp>
      <p:sp>
        <p:nvSpPr>
          <p:cNvPr id="4" name="SmartArt Placeholder 3">
            <a:extLst>
              <a:ext uri="{FF2B5EF4-FFF2-40B4-BE49-F238E27FC236}">
                <a16:creationId xmlns:a16="http://schemas.microsoft.com/office/drawing/2014/main" id="{535B2324-53BC-B0D4-88E3-5D9397FAEBDB}"/>
              </a:ext>
            </a:extLst>
          </p:cNvPr>
          <p:cNvSpPr>
            <a:spLocks noGrp="1"/>
          </p:cNvSpPr>
          <p:nvPr>
            <p:ph type="dgm" sz="quarter" idx="12"/>
          </p:nvPr>
        </p:nvSpPr>
        <p:spPr/>
      </p:sp>
      <p:pic>
        <p:nvPicPr>
          <p:cNvPr id="5" name="Picture 4" descr="A picture containing text&#10;&#10;Description automatically generated">
            <a:extLst>
              <a:ext uri="{FF2B5EF4-FFF2-40B4-BE49-F238E27FC236}">
                <a16:creationId xmlns:a16="http://schemas.microsoft.com/office/drawing/2014/main" id="{9F9697EC-3BDC-1346-E35C-A2EC5EE595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777513" y="4336696"/>
            <a:ext cx="15654394" cy="8939332"/>
          </a:xfrm>
          <a:prstGeom prst="rect">
            <a:avLst/>
          </a:prstGeom>
        </p:spPr>
      </p:pic>
      <p:sp>
        <p:nvSpPr>
          <p:cNvPr id="3" name="Oval 2">
            <a:extLst>
              <a:ext uri="{FF2B5EF4-FFF2-40B4-BE49-F238E27FC236}">
                <a16:creationId xmlns:a16="http://schemas.microsoft.com/office/drawing/2014/main" id="{0F8F265F-0631-8999-8C31-8BE08473810F}"/>
              </a:ext>
            </a:extLst>
          </p:cNvPr>
          <p:cNvSpPr/>
          <p:nvPr/>
        </p:nvSpPr>
        <p:spPr>
          <a:xfrm>
            <a:off x="4298869" y="4631379"/>
            <a:ext cx="2066306" cy="185255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hangingPunct="1">
              <a:lnSpc>
                <a:spcPct val="100000"/>
              </a:lnSpc>
              <a:spcBef>
                <a:spcPts val="0"/>
              </a:spcBef>
            </a:pPr>
            <a:endParaRPr lang="nl-NL" sz="3600" kern="1200">
              <a:solidFill>
                <a:prstClr val="white"/>
              </a:solidFill>
              <a:latin typeface="Calibri" panose="020F0502020204030204"/>
            </a:endParaRPr>
          </a:p>
        </p:txBody>
      </p:sp>
      <p:sp>
        <p:nvSpPr>
          <p:cNvPr id="7" name="Oval 6">
            <a:extLst>
              <a:ext uri="{FF2B5EF4-FFF2-40B4-BE49-F238E27FC236}">
                <a16:creationId xmlns:a16="http://schemas.microsoft.com/office/drawing/2014/main" id="{C7884CE8-DD97-18BB-06B0-4B85BAFDC895}"/>
              </a:ext>
            </a:extLst>
          </p:cNvPr>
          <p:cNvSpPr/>
          <p:nvPr/>
        </p:nvSpPr>
        <p:spPr>
          <a:xfrm>
            <a:off x="4405747" y="11035381"/>
            <a:ext cx="2066306" cy="185255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hangingPunct="1">
              <a:lnSpc>
                <a:spcPct val="100000"/>
              </a:lnSpc>
              <a:spcBef>
                <a:spcPts val="0"/>
              </a:spcBef>
            </a:pPr>
            <a:endParaRPr lang="nl-NL" sz="3600" kern="1200">
              <a:solidFill>
                <a:prstClr val="white"/>
              </a:solidFill>
              <a:latin typeface="Calibri" panose="020F0502020204030204"/>
            </a:endParaRPr>
          </a:p>
        </p:txBody>
      </p:sp>
      <p:sp>
        <p:nvSpPr>
          <p:cNvPr id="8" name="Oval 7">
            <a:extLst>
              <a:ext uri="{FF2B5EF4-FFF2-40B4-BE49-F238E27FC236}">
                <a16:creationId xmlns:a16="http://schemas.microsoft.com/office/drawing/2014/main" id="{59CB7748-D8FE-D33C-333E-76227A84E57F}"/>
              </a:ext>
            </a:extLst>
          </p:cNvPr>
          <p:cNvSpPr/>
          <p:nvPr/>
        </p:nvSpPr>
        <p:spPr>
          <a:xfrm>
            <a:off x="7100287" y="10390155"/>
            <a:ext cx="2066306" cy="185255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hangingPunct="1">
              <a:lnSpc>
                <a:spcPct val="100000"/>
              </a:lnSpc>
              <a:spcBef>
                <a:spcPts val="0"/>
              </a:spcBef>
            </a:pPr>
            <a:endParaRPr lang="nl-NL" sz="3600" kern="1200">
              <a:solidFill>
                <a:prstClr val="white"/>
              </a:solidFill>
              <a:latin typeface="Calibri" panose="020F0502020204030204"/>
            </a:endParaRPr>
          </a:p>
        </p:txBody>
      </p:sp>
      <p:sp>
        <p:nvSpPr>
          <p:cNvPr id="9" name="TextBox 8">
            <a:extLst>
              <a:ext uri="{FF2B5EF4-FFF2-40B4-BE49-F238E27FC236}">
                <a16:creationId xmlns:a16="http://schemas.microsoft.com/office/drawing/2014/main" id="{522BFC98-2DCA-81CE-8541-41E3BEBACBDF}"/>
              </a:ext>
            </a:extLst>
          </p:cNvPr>
          <p:cNvSpPr txBox="1"/>
          <p:nvPr/>
        </p:nvSpPr>
        <p:spPr>
          <a:xfrm>
            <a:off x="2242082" y="6070762"/>
            <a:ext cx="4858204" cy="1200329"/>
          </a:xfrm>
          <a:prstGeom prst="rect">
            <a:avLst/>
          </a:prstGeom>
          <a:noFill/>
        </p:spPr>
        <p:txBody>
          <a:bodyPr wrap="square" rtlCol="0">
            <a:spAutoFit/>
          </a:bodyPr>
          <a:lstStyle/>
          <a:p>
            <a:pPr defTabSz="1828800" hangingPunct="1">
              <a:lnSpc>
                <a:spcPct val="100000"/>
              </a:lnSpc>
              <a:spcBef>
                <a:spcPts val="0"/>
              </a:spcBef>
            </a:pPr>
            <a:r>
              <a:rPr lang="en-US" sz="3600" kern="1200" dirty="0" err="1">
                <a:solidFill>
                  <a:prstClr val="black"/>
                </a:solidFill>
                <a:latin typeface="Calibri" panose="020F0502020204030204"/>
              </a:rPr>
              <a:t>Reguliere</a:t>
            </a:r>
            <a:r>
              <a:rPr lang="en-US" sz="3600" kern="1200" dirty="0">
                <a:solidFill>
                  <a:prstClr val="black"/>
                </a:solidFill>
                <a:latin typeface="Calibri" panose="020F0502020204030204"/>
              </a:rPr>
              <a:t> </a:t>
            </a:r>
            <a:r>
              <a:rPr lang="en-US" sz="3600" kern="1200" dirty="0" err="1">
                <a:solidFill>
                  <a:prstClr val="black"/>
                </a:solidFill>
                <a:latin typeface="Calibri" panose="020F0502020204030204"/>
              </a:rPr>
              <a:t>innovatieprojecten</a:t>
            </a:r>
            <a:endParaRPr lang="nl-NL" sz="3600" kern="1200" dirty="0">
              <a:solidFill>
                <a:prstClr val="black"/>
              </a:solidFill>
              <a:latin typeface="Calibri" panose="020F0502020204030204"/>
            </a:endParaRPr>
          </a:p>
        </p:txBody>
      </p:sp>
      <p:sp>
        <p:nvSpPr>
          <p:cNvPr id="10" name="TextBox 9">
            <a:extLst>
              <a:ext uri="{FF2B5EF4-FFF2-40B4-BE49-F238E27FC236}">
                <a16:creationId xmlns:a16="http://schemas.microsoft.com/office/drawing/2014/main" id="{0D55CC74-CD89-B397-8243-A7EC8A456FA1}"/>
              </a:ext>
            </a:extLst>
          </p:cNvPr>
          <p:cNvSpPr txBox="1"/>
          <p:nvPr/>
        </p:nvSpPr>
        <p:spPr>
          <a:xfrm>
            <a:off x="315258" y="10950042"/>
            <a:ext cx="4858204" cy="646331"/>
          </a:xfrm>
          <a:prstGeom prst="rect">
            <a:avLst/>
          </a:prstGeom>
          <a:noFill/>
        </p:spPr>
        <p:txBody>
          <a:bodyPr wrap="square" rtlCol="0">
            <a:spAutoFit/>
          </a:bodyPr>
          <a:lstStyle/>
          <a:p>
            <a:pPr defTabSz="1828800" hangingPunct="1">
              <a:lnSpc>
                <a:spcPct val="100000"/>
              </a:lnSpc>
              <a:spcBef>
                <a:spcPts val="0"/>
              </a:spcBef>
            </a:pPr>
            <a:r>
              <a:rPr lang="en-US" sz="3600" kern="1200" dirty="0">
                <a:solidFill>
                  <a:prstClr val="black"/>
                </a:solidFill>
                <a:latin typeface="Calibri" panose="020F0502020204030204"/>
              </a:rPr>
              <a:t>Transitie-</a:t>
            </a:r>
            <a:r>
              <a:rPr lang="en-US" sz="3600" kern="1200" dirty="0" err="1">
                <a:solidFill>
                  <a:prstClr val="black"/>
                </a:solidFill>
                <a:latin typeface="Calibri" panose="020F0502020204030204"/>
              </a:rPr>
              <a:t>experimenten</a:t>
            </a:r>
            <a:endParaRPr lang="nl-NL" sz="3600" kern="1200" dirty="0">
              <a:solidFill>
                <a:prstClr val="black"/>
              </a:solidFill>
              <a:latin typeface="Calibri" panose="020F0502020204030204"/>
            </a:endParaRPr>
          </a:p>
        </p:txBody>
      </p:sp>
      <p:sp>
        <p:nvSpPr>
          <p:cNvPr id="11" name="TextBox 10">
            <a:extLst>
              <a:ext uri="{FF2B5EF4-FFF2-40B4-BE49-F238E27FC236}">
                <a16:creationId xmlns:a16="http://schemas.microsoft.com/office/drawing/2014/main" id="{F05F5B1C-E721-BEEA-6516-3BA909C5D50B}"/>
              </a:ext>
            </a:extLst>
          </p:cNvPr>
          <p:cNvSpPr txBox="1"/>
          <p:nvPr/>
        </p:nvSpPr>
        <p:spPr>
          <a:xfrm>
            <a:off x="5438898" y="9283999"/>
            <a:ext cx="4858204" cy="646331"/>
          </a:xfrm>
          <a:prstGeom prst="rect">
            <a:avLst/>
          </a:prstGeom>
          <a:noFill/>
        </p:spPr>
        <p:txBody>
          <a:bodyPr wrap="square" rtlCol="0">
            <a:spAutoFit/>
          </a:bodyPr>
          <a:lstStyle/>
          <a:p>
            <a:pPr defTabSz="1828800" hangingPunct="1">
              <a:lnSpc>
                <a:spcPct val="100000"/>
              </a:lnSpc>
              <a:spcBef>
                <a:spcPts val="0"/>
              </a:spcBef>
            </a:pPr>
            <a:r>
              <a:rPr lang="en-US" sz="3600" kern="1200" dirty="0" err="1">
                <a:solidFill>
                  <a:prstClr val="black"/>
                </a:solidFill>
                <a:latin typeface="Calibri" panose="020F0502020204030204"/>
              </a:rPr>
              <a:t>Doorbraakprojecten</a:t>
            </a:r>
            <a:endParaRPr lang="nl-NL" sz="3600" kern="1200" dirty="0">
              <a:solidFill>
                <a:prstClr val="black"/>
              </a:solidFill>
              <a:latin typeface="Calibri" panose="020F0502020204030204"/>
            </a:endParaRPr>
          </a:p>
        </p:txBody>
      </p:sp>
    </p:spTree>
    <p:extLst>
      <p:ext uri="{BB962C8B-B14F-4D97-AF65-F5344CB8AC3E}">
        <p14:creationId xmlns:p14="http://schemas.microsoft.com/office/powerpoint/2010/main" val="40258364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1F7AEE6-1F91-F623-D5D5-250DCAC82A0D}"/>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18658" y="1710048"/>
            <a:ext cx="21346684" cy="11454988"/>
          </a:xfrm>
          <a:prstGeom prst="rect">
            <a:avLst/>
          </a:prstGeom>
          <a:noFill/>
        </p:spPr>
      </p:pic>
      <p:sp>
        <p:nvSpPr>
          <p:cNvPr id="7" name="Title 1">
            <a:extLst>
              <a:ext uri="{FF2B5EF4-FFF2-40B4-BE49-F238E27FC236}">
                <a16:creationId xmlns:a16="http://schemas.microsoft.com/office/drawing/2014/main" id="{D2E045BD-CAFD-8AA0-6D3A-3B2EC21AC103}"/>
              </a:ext>
            </a:extLst>
          </p:cNvPr>
          <p:cNvSpPr>
            <a:spLocks noGrp="1"/>
          </p:cNvSpPr>
          <p:nvPr>
            <p:ph type="title"/>
          </p:nvPr>
        </p:nvSpPr>
        <p:spPr>
          <a:xfrm>
            <a:off x="5758336" y="550965"/>
            <a:ext cx="20701840" cy="1398278"/>
          </a:xfrm>
        </p:spPr>
        <p:txBody>
          <a:bodyPr/>
          <a:lstStyle/>
          <a:p>
            <a:r>
              <a:rPr lang="en-US" dirty="0">
                <a:latin typeface="+mj-lt"/>
              </a:rPr>
              <a:t>Wat is </a:t>
            </a:r>
            <a:r>
              <a:rPr lang="en-US" dirty="0" err="1">
                <a:latin typeface="+mj-lt"/>
              </a:rPr>
              <a:t>een</a:t>
            </a:r>
            <a:r>
              <a:rPr lang="en-US" dirty="0">
                <a:latin typeface="+mj-lt"/>
              </a:rPr>
              <a:t> </a:t>
            </a:r>
            <a:r>
              <a:rPr lang="en-US" dirty="0" err="1">
                <a:latin typeface="+mj-lt"/>
              </a:rPr>
              <a:t>doorbraakproject</a:t>
            </a:r>
            <a:r>
              <a:rPr lang="en-US" dirty="0">
                <a:latin typeface="+mj-lt"/>
              </a:rPr>
              <a:t>?</a:t>
            </a:r>
            <a:endParaRPr lang="nl-NL" dirty="0">
              <a:latin typeface="+mj-lt"/>
            </a:endParaRPr>
          </a:p>
        </p:txBody>
      </p:sp>
    </p:spTree>
    <p:extLst>
      <p:ext uri="{BB962C8B-B14F-4D97-AF65-F5344CB8AC3E}">
        <p14:creationId xmlns:p14="http://schemas.microsoft.com/office/powerpoint/2010/main" val="12211757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789C38-5077-C9E0-987E-E7FD5BC0474E}"/>
              </a:ext>
            </a:extLst>
          </p:cNvPr>
          <p:cNvSpPr>
            <a:spLocks noGrp="1"/>
          </p:cNvSpPr>
          <p:nvPr>
            <p:ph type="title"/>
          </p:nvPr>
        </p:nvSpPr>
        <p:spPr/>
        <p:txBody>
          <a:bodyPr/>
          <a:lstStyle/>
          <a:p>
            <a:r>
              <a:rPr lang="en-US" dirty="0" err="1"/>
              <a:t>radicaliteit</a:t>
            </a:r>
            <a:endParaRPr lang="nl-NL" dirty="0"/>
          </a:p>
        </p:txBody>
      </p:sp>
      <p:sp>
        <p:nvSpPr>
          <p:cNvPr id="3" name="Text Placeholder 2">
            <a:extLst>
              <a:ext uri="{FF2B5EF4-FFF2-40B4-BE49-F238E27FC236}">
                <a16:creationId xmlns:a16="http://schemas.microsoft.com/office/drawing/2014/main" id="{9E95F129-0CCD-BE04-1734-36D0855BD76E}"/>
              </a:ext>
            </a:extLst>
          </p:cNvPr>
          <p:cNvSpPr>
            <a:spLocks noGrp="1"/>
          </p:cNvSpPr>
          <p:nvPr>
            <p:ph type="body" sz="quarter" idx="11"/>
          </p:nvPr>
        </p:nvSpPr>
        <p:spPr/>
        <p:txBody>
          <a:bodyPr/>
          <a:lstStyle/>
          <a:p>
            <a:pPr marL="685800" indent="-685800">
              <a:lnSpc>
                <a:spcPct val="107000"/>
              </a:lnSpc>
              <a:spcAft>
                <a:spcPts val="1600"/>
              </a:spcAft>
              <a:buFont typeface="Calibri" panose="020F0502020204030204" pitchFamily="34" charset="0"/>
              <a:buChar char="-"/>
            </a:pPr>
            <a:r>
              <a:rPr lang="nl-NL" sz="4000" b="1" dirty="0">
                <a:ea typeface="Calibri" panose="020F0502020204030204" pitchFamily="34" charset="0"/>
                <a:cs typeface="Times New Roman" panose="02020603050405020304" pitchFamily="18" charset="0"/>
              </a:rPr>
              <a:t>Denken: </a:t>
            </a:r>
            <a:r>
              <a:rPr lang="nl-NL" sz="4000" dirty="0">
                <a:ea typeface="Calibri" panose="020F0502020204030204" pitchFamily="34" charset="0"/>
                <a:cs typeface="Times New Roman" panose="02020603050405020304" pitchFamily="18" charset="0"/>
              </a:rPr>
              <a:t>Tot in hoeverre probeert het initiatief dominante beelden, waarden en paradigma’s uit te dagen en ter discussie te stellen? </a:t>
            </a:r>
            <a:endParaRPr lang="nl-NL" sz="4000" dirty="0">
              <a:latin typeface="Arial" panose="020B0604020202020204" pitchFamily="34" charset="0"/>
              <a:ea typeface="Calibri" panose="020F0502020204030204" pitchFamily="34" charset="0"/>
              <a:cs typeface="Times New Roman" panose="02020603050405020304" pitchFamily="18" charset="0"/>
            </a:endParaRPr>
          </a:p>
          <a:p>
            <a:pPr marL="685800" indent="-685800">
              <a:lnSpc>
                <a:spcPct val="107000"/>
              </a:lnSpc>
              <a:spcAft>
                <a:spcPts val="1600"/>
              </a:spcAft>
              <a:buFont typeface="Calibri" panose="020F0502020204030204" pitchFamily="34" charset="0"/>
              <a:buChar char="-"/>
            </a:pPr>
            <a:endParaRPr lang="nl-NL" sz="4000" dirty="0">
              <a:latin typeface="Arial" panose="020B0604020202020204" pitchFamily="34" charset="0"/>
              <a:ea typeface="Calibri" panose="020F0502020204030204" pitchFamily="34" charset="0"/>
              <a:cs typeface="Times New Roman" panose="02020603050405020304" pitchFamily="18" charset="0"/>
            </a:endParaRPr>
          </a:p>
          <a:p>
            <a:pPr marL="685800" indent="-685800">
              <a:lnSpc>
                <a:spcPct val="107000"/>
              </a:lnSpc>
              <a:spcAft>
                <a:spcPts val="1600"/>
              </a:spcAft>
              <a:buFont typeface="Calibri" panose="020F0502020204030204" pitchFamily="34" charset="0"/>
              <a:buChar char="-"/>
            </a:pPr>
            <a:r>
              <a:rPr lang="nl-NL" sz="4000" b="1" dirty="0">
                <a:ea typeface="Calibri" panose="020F0502020204030204" pitchFamily="34" charset="0"/>
                <a:cs typeface="Times New Roman" panose="02020603050405020304" pitchFamily="18" charset="0"/>
              </a:rPr>
              <a:t>Organiseren: </a:t>
            </a:r>
            <a:r>
              <a:rPr lang="nl-NL" sz="4000" dirty="0">
                <a:ea typeface="Calibri" panose="020F0502020204030204" pitchFamily="34" charset="0"/>
                <a:cs typeface="Times New Roman" panose="02020603050405020304" pitchFamily="18" charset="0"/>
              </a:rPr>
              <a:t>Probeert het initiatief te komen tot nieuwe ketensamenwerking? Tot in hoeverre leidt het initiatief tot een nieuwe manier van samenwerking tussen producenten, leveranciers, afnemers, consumenten? </a:t>
            </a:r>
          </a:p>
          <a:p>
            <a:pPr marL="685800" indent="-685800">
              <a:lnSpc>
                <a:spcPct val="107000"/>
              </a:lnSpc>
              <a:spcAft>
                <a:spcPts val="1600"/>
              </a:spcAft>
              <a:buFont typeface="Calibri" panose="020F0502020204030204" pitchFamily="34" charset="0"/>
              <a:buChar char="-"/>
            </a:pPr>
            <a:endParaRPr lang="nl-NL" sz="4000" dirty="0">
              <a:ea typeface="Calibri" panose="020F0502020204030204" pitchFamily="34" charset="0"/>
              <a:cs typeface="Times New Roman" panose="02020603050405020304" pitchFamily="18" charset="0"/>
            </a:endParaRPr>
          </a:p>
          <a:p>
            <a:pPr marL="685800" indent="-685800">
              <a:lnSpc>
                <a:spcPct val="107000"/>
              </a:lnSpc>
              <a:spcAft>
                <a:spcPts val="1600"/>
              </a:spcAft>
              <a:buFont typeface="Calibri" panose="020F0502020204030204" pitchFamily="34" charset="0"/>
              <a:buChar char="-"/>
            </a:pPr>
            <a:r>
              <a:rPr lang="nl-NL" sz="4000" b="1" dirty="0">
                <a:ea typeface="Calibri" panose="020F0502020204030204" pitchFamily="34" charset="0"/>
                <a:cs typeface="Times New Roman" panose="02020603050405020304" pitchFamily="18" charset="0"/>
              </a:rPr>
              <a:t>Doen: </a:t>
            </a:r>
            <a:r>
              <a:rPr lang="nl-NL" sz="4000" dirty="0">
                <a:ea typeface="Calibri" panose="020F0502020204030204" pitchFamily="34" charset="0"/>
                <a:cs typeface="Times New Roman" panose="02020603050405020304" pitchFamily="18" charset="0"/>
              </a:rPr>
              <a:t>Tot in hoeverre lokt het initiatief alternatief gedrag van burgers of consumenten uit?</a:t>
            </a:r>
            <a:endParaRPr lang="nl-NL" sz="40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martArt Placeholder 3">
            <a:extLst>
              <a:ext uri="{FF2B5EF4-FFF2-40B4-BE49-F238E27FC236}">
                <a16:creationId xmlns:a16="http://schemas.microsoft.com/office/drawing/2014/main" id="{AD4289F2-E92B-4AA9-4C7C-760C4FCAA008}"/>
              </a:ext>
            </a:extLst>
          </p:cNvPr>
          <p:cNvSpPr>
            <a:spLocks noGrp="1"/>
          </p:cNvSpPr>
          <p:nvPr>
            <p:ph type="dgm" sz="quarter" idx="12"/>
          </p:nvPr>
        </p:nvSpPr>
        <p:spPr/>
      </p:sp>
    </p:spTree>
    <p:extLst>
      <p:ext uri="{BB962C8B-B14F-4D97-AF65-F5344CB8AC3E}">
        <p14:creationId xmlns:p14="http://schemas.microsoft.com/office/powerpoint/2010/main" val="16130700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17093-3B0F-4197-90D8-A4BC8F4CF678}"/>
              </a:ext>
            </a:extLst>
          </p:cNvPr>
          <p:cNvSpPr>
            <a:spLocks noGrp="1"/>
          </p:cNvSpPr>
          <p:nvPr>
            <p:ph type="title"/>
          </p:nvPr>
        </p:nvSpPr>
        <p:spPr/>
        <p:txBody>
          <a:bodyPr/>
          <a:lstStyle/>
          <a:p>
            <a:r>
              <a:rPr lang="en-US">
                <a:ea typeface="Source Sans Pro"/>
              </a:rPr>
              <a:t>Agenda</a:t>
            </a:r>
            <a:endParaRPr lang="en-US"/>
          </a:p>
        </p:txBody>
      </p:sp>
      <p:sp>
        <p:nvSpPr>
          <p:cNvPr id="3" name="Slide Number Placeholder 2">
            <a:extLst>
              <a:ext uri="{FF2B5EF4-FFF2-40B4-BE49-F238E27FC236}">
                <a16:creationId xmlns:a16="http://schemas.microsoft.com/office/drawing/2014/main" id="{F7385D22-0273-4FA5-BDC5-FFB330AA5C0F}"/>
              </a:ext>
            </a:extLst>
          </p:cNvPr>
          <p:cNvSpPr>
            <a:spLocks noGrp="1"/>
          </p:cNvSpPr>
          <p:nvPr>
            <p:ph type="sldNum" sz="quarter" idx="10"/>
          </p:nvPr>
        </p:nvSpPr>
        <p:spPr/>
        <p:txBody>
          <a:bodyPr/>
          <a:lstStyle/>
          <a:p>
            <a:fld id="{86CB4B4D-7CA3-9044-876B-883B54F8677D}" type="slidenum">
              <a:rPr lang="nl-NL">
                <a:solidFill>
                  <a:srgbClr val="000000"/>
                </a:solidFill>
                <a:latin typeface="Source Sans Pro"/>
              </a:rPr>
              <a:pPr/>
              <a:t>2</a:t>
            </a:fld>
            <a:endParaRPr lang="nl-NL">
              <a:solidFill>
                <a:srgbClr val="000000"/>
              </a:solidFill>
              <a:latin typeface="Source Sans Pro"/>
            </a:endParaRPr>
          </a:p>
        </p:txBody>
      </p:sp>
      <p:sp>
        <p:nvSpPr>
          <p:cNvPr id="4" name="Content Placeholder 3">
            <a:extLst>
              <a:ext uri="{FF2B5EF4-FFF2-40B4-BE49-F238E27FC236}">
                <a16:creationId xmlns:a16="http://schemas.microsoft.com/office/drawing/2014/main" id="{86F92B43-E296-48C2-999B-849BCE3E6E47}"/>
              </a:ext>
            </a:extLst>
          </p:cNvPr>
          <p:cNvSpPr>
            <a:spLocks noGrp="1"/>
          </p:cNvSpPr>
          <p:nvPr>
            <p:ph sz="quarter" idx="13"/>
          </p:nvPr>
        </p:nvSpPr>
        <p:spPr/>
        <p:txBody>
          <a:bodyPr vert="horz" lIns="182880" tIns="91440" rIns="182880" bIns="91440" rtlCol="0" anchor="t">
            <a:noAutofit/>
          </a:bodyPr>
          <a:lstStyle/>
          <a:p>
            <a:pPr marL="514350" indent="-514350">
              <a:lnSpc>
                <a:spcPct val="200000"/>
              </a:lnSpc>
              <a:buAutoNum type="arabicPeriod"/>
            </a:pPr>
            <a:r>
              <a:rPr lang="nl-NL" sz="2800">
                <a:ea typeface="+mn-lt"/>
                <a:cs typeface="+mn-lt"/>
              </a:rPr>
              <a:t>Nieuwe website voor het vernieuwersnetwerk </a:t>
            </a:r>
          </a:p>
          <a:p>
            <a:pPr marL="514350" indent="-514350">
              <a:lnSpc>
                <a:spcPct val="200000"/>
              </a:lnSpc>
              <a:buAutoNum type="arabicPeriod"/>
            </a:pPr>
            <a:r>
              <a:rPr lang="nl-NL" sz="2800">
                <a:ea typeface="+mn-lt"/>
                <a:cs typeface="+mn-lt"/>
              </a:rPr>
              <a:t>De subsidieregeling</a:t>
            </a:r>
          </a:p>
          <a:p>
            <a:pPr marL="514350" indent="-514350">
              <a:lnSpc>
                <a:spcPct val="200000"/>
              </a:lnSpc>
              <a:buAutoNum type="arabicPeriod"/>
            </a:pPr>
            <a:r>
              <a:rPr lang="nl-NL" sz="2800">
                <a:ea typeface="+mn-lt"/>
                <a:cs typeface="+mn-lt"/>
              </a:rPr>
              <a:t>Doorbraakprojecten: Wat zijn dat ook alweer?</a:t>
            </a:r>
          </a:p>
          <a:p>
            <a:pPr marL="514350" indent="-514350">
              <a:lnSpc>
                <a:spcPct val="200000"/>
              </a:lnSpc>
              <a:buAutoNum type="arabicPeriod"/>
            </a:pPr>
            <a:r>
              <a:rPr lang="nl-NL" sz="2800">
                <a:ea typeface="+mn-lt"/>
                <a:cs typeface="+mn-lt"/>
              </a:rPr>
              <a:t>In gesprek met mogelijke doorbraakprojecten</a:t>
            </a:r>
          </a:p>
          <a:p>
            <a:pPr marL="514350" indent="-514350">
              <a:lnSpc>
                <a:spcPct val="200000"/>
              </a:lnSpc>
              <a:buAutoNum type="arabicPeriod"/>
            </a:pPr>
            <a:r>
              <a:rPr lang="nl-NL" sz="2800">
                <a:ea typeface="+mn-lt"/>
                <a:cs typeface="+mn-lt"/>
              </a:rPr>
              <a:t>Aan de slag</a:t>
            </a:r>
          </a:p>
        </p:txBody>
      </p:sp>
      <p:sp>
        <p:nvSpPr>
          <p:cNvPr id="10" name="Tijdelijke aanduiding voor tekst 9">
            <a:extLst>
              <a:ext uri="{FF2B5EF4-FFF2-40B4-BE49-F238E27FC236}">
                <a16:creationId xmlns:a16="http://schemas.microsoft.com/office/drawing/2014/main" id="{3019C964-90DE-420A-8DEF-C46716D01B23}"/>
              </a:ext>
            </a:extLst>
          </p:cNvPr>
          <p:cNvSpPr>
            <a:spLocks noGrp="1"/>
          </p:cNvSpPr>
          <p:nvPr>
            <p:ph type="body" sz="quarter" idx="14"/>
          </p:nvPr>
        </p:nvSpPr>
        <p:spPr/>
        <p:txBody>
          <a:bodyPr/>
          <a:lstStyle/>
          <a:p>
            <a:endParaRPr lang="nl-NL"/>
          </a:p>
        </p:txBody>
      </p:sp>
      <p:sp>
        <p:nvSpPr>
          <p:cNvPr id="7" name="Date Placeholder 6">
            <a:extLst>
              <a:ext uri="{FF2B5EF4-FFF2-40B4-BE49-F238E27FC236}">
                <a16:creationId xmlns:a16="http://schemas.microsoft.com/office/drawing/2014/main" id="{F4491EB3-A1E7-4DC9-AEA7-E53FF46DE2DD}"/>
              </a:ext>
            </a:extLst>
          </p:cNvPr>
          <p:cNvSpPr>
            <a:spLocks noGrp="1"/>
          </p:cNvSpPr>
          <p:nvPr>
            <p:ph type="dt" sz="half" idx="2"/>
          </p:nvPr>
        </p:nvSpPr>
        <p:spPr/>
        <p:txBody>
          <a:bodyPr/>
          <a:lstStyle/>
          <a:p>
            <a:pPr defTabSz="1828823"/>
            <a:fld id="{50C58389-12C7-4701-A74A-FE921C2C3097}" type="datetime4">
              <a:rPr lang="nl-NL">
                <a:solidFill>
                  <a:srgbClr val="000000"/>
                </a:solidFill>
                <a:latin typeface="Source Sans Pro"/>
              </a:rPr>
              <a:pPr defTabSz="1828823"/>
              <a:t>13 juni 2023</a:t>
            </a:fld>
            <a:endParaRPr lang="nl-NL">
              <a:solidFill>
                <a:srgbClr val="000000"/>
              </a:solidFill>
              <a:latin typeface="Source Sans Pro"/>
            </a:endParaRPr>
          </a:p>
        </p:txBody>
      </p:sp>
      <p:pic>
        <p:nvPicPr>
          <p:cNvPr id="14" name="Tijdelijke aanduiding voor afbeelding 13" descr="Houten huizen onder constructie">
            <a:extLst>
              <a:ext uri="{FF2B5EF4-FFF2-40B4-BE49-F238E27FC236}">
                <a16:creationId xmlns:a16="http://schemas.microsoft.com/office/drawing/2014/main" id="{D41562EF-E523-45C9-A71A-7C41DD98FCCC}"/>
              </a:ext>
            </a:extLst>
          </p:cNvPr>
          <p:cNvPicPr>
            <a:picLocks noGrp="1" noChangeAspect="1"/>
          </p:cNvPicPr>
          <p:nvPr>
            <p:ph type="pic" sz="quarter" idx="24"/>
          </p:nvPr>
        </p:nvPicPr>
        <p:blipFill>
          <a:blip r:embed="rId3" cstate="print">
            <a:extLst>
              <a:ext uri="{28A0092B-C50C-407E-A947-70E740481C1C}">
                <a14:useLocalDpi xmlns:a14="http://schemas.microsoft.com/office/drawing/2010/main" val="0"/>
              </a:ext>
            </a:extLst>
          </a:blip>
          <a:srcRect l="16579" r="16579"/>
          <a:stretch>
            <a:fillRect/>
          </a:stretch>
        </p:blipFill>
        <p:spPr/>
      </p:pic>
    </p:spTree>
    <p:extLst>
      <p:ext uri="{BB962C8B-B14F-4D97-AF65-F5344CB8AC3E}">
        <p14:creationId xmlns:p14="http://schemas.microsoft.com/office/powerpoint/2010/main" val="2864203172"/>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5FBFF-5E94-E12B-F976-7E686E885A29}"/>
              </a:ext>
            </a:extLst>
          </p:cNvPr>
          <p:cNvSpPr>
            <a:spLocks noGrp="1"/>
          </p:cNvSpPr>
          <p:nvPr>
            <p:ph type="title"/>
          </p:nvPr>
        </p:nvSpPr>
        <p:spPr/>
        <p:txBody>
          <a:bodyPr/>
          <a:lstStyle/>
          <a:p>
            <a:r>
              <a:rPr lang="en-US" dirty="0"/>
              <a:t>Impact</a:t>
            </a:r>
            <a:endParaRPr lang="nl-NL" dirty="0"/>
          </a:p>
        </p:txBody>
      </p:sp>
      <p:sp>
        <p:nvSpPr>
          <p:cNvPr id="3" name="Text Placeholder 2">
            <a:extLst>
              <a:ext uri="{FF2B5EF4-FFF2-40B4-BE49-F238E27FC236}">
                <a16:creationId xmlns:a16="http://schemas.microsoft.com/office/drawing/2014/main" id="{DCF386D8-4EEF-AD13-B941-D58C6EA23852}"/>
              </a:ext>
            </a:extLst>
          </p:cNvPr>
          <p:cNvSpPr>
            <a:spLocks noGrp="1"/>
          </p:cNvSpPr>
          <p:nvPr>
            <p:ph type="body" sz="quarter" idx="11"/>
          </p:nvPr>
        </p:nvSpPr>
        <p:spPr/>
        <p:txBody>
          <a:bodyPr/>
          <a:lstStyle/>
          <a:p>
            <a:pPr>
              <a:lnSpc>
                <a:spcPct val="107000"/>
              </a:lnSpc>
              <a:spcAft>
                <a:spcPts val="1600"/>
              </a:spcAft>
            </a:pPr>
            <a:r>
              <a:rPr lang="nl-NL" sz="4000" b="1" dirty="0">
                <a:cs typeface="Times New Roman" panose="02020603050405020304" pitchFamily="18" charset="0"/>
              </a:rPr>
              <a:t>Materieel</a:t>
            </a:r>
            <a:r>
              <a:rPr lang="nl-NL" sz="4000" dirty="0">
                <a:cs typeface="Times New Roman" panose="02020603050405020304" pitchFamily="18" charset="0"/>
              </a:rPr>
              <a:t>: </a:t>
            </a:r>
            <a:br>
              <a:rPr lang="nl-NL" sz="4000" dirty="0">
                <a:cs typeface="Times New Roman" panose="02020603050405020304" pitchFamily="18" charset="0"/>
              </a:rPr>
            </a:br>
            <a:r>
              <a:rPr lang="nl-NL" sz="4000" dirty="0">
                <a:cs typeface="Times New Roman" panose="02020603050405020304" pitchFamily="18" charset="0"/>
              </a:rPr>
              <a:t>- Tot in hoeverre leidt het initiatief tot substantiële CO2-vermindering / een substantiële afname in materiaalverbruik?</a:t>
            </a:r>
            <a:br>
              <a:rPr lang="nl-NL" sz="4000" dirty="0">
                <a:cs typeface="Times New Roman" panose="02020603050405020304" pitchFamily="18" charset="0"/>
              </a:rPr>
            </a:br>
            <a:br>
              <a:rPr lang="nl-NL" sz="4000" b="1" dirty="0">
                <a:cs typeface="Times New Roman" panose="02020603050405020304" pitchFamily="18" charset="0"/>
              </a:rPr>
            </a:br>
            <a:r>
              <a:rPr lang="nl-NL" sz="4000" b="1" dirty="0">
                <a:cs typeface="Times New Roman" panose="02020603050405020304" pitchFamily="18" charset="0"/>
              </a:rPr>
              <a:t>Iconisch:</a:t>
            </a:r>
            <a:br>
              <a:rPr lang="nl-NL" sz="4000" dirty="0">
                <a:cs typeface="Times New Roman" panose="02020603050405020304" pitchFamily="18" charset="0"/>
              </a:rPr>
            </a:br>
            <a:r>
              <a:rPr lang="nl-NL" sz="4000" dirty="0">
                <a:cs typeface="Times New Roman" panose="02020603050405020304" pitchFamily="18" charset="0"/>
              </a:rPr>
              <a:t>- ‘wow-effect’? spreekt tot verbeelding/fungeert als icoon/inspirerend</a:t>
            </a:r>
            <a:br>
              <a:rPr lang="nl-NL" sz="4000" dirty="0">
                <a:cs typeface="Times New Roman" panose="02020603050405020304" pitchFamily="18" charset="0"/>
              </a:rPr>
            </a:br>
            <a:r>
              <a:rPr lang="nl-NL" sz="4000" dirty="0">
                <a:cs typeface="Times New Roman" panose="02020603050405020304" pitchFamily="18" charset="0"/>
              </a:rPr>
              <a:t>- controversieel/brengt debat op gang/schuurt</a:t>
            </a:r>
            <a:br>
              <a:rPr lang="nl-NL" sz="4000" dirty="0">
                <a:cs typeface="Times New Roman" panose="02020603050405020304" pitchFamily="18" charset="0"/>
              </a:rPr>
            </a:br>
            <a:r>
              <a:rPr lang="nl-NL" sz="4000" dirty="0">
                <a:cs typeface="Times New Roman" panose="02020603050405020304" pitchFamily="18" charset="0"/>
              </a:rPr>
              <a:t>- stelt het initiatief bestaande wetten of regels ter discussie? </a:t>
            </a:r>
          </a:p>
          <a:p>
            <a:pPr>
              <a:lnSpc>
                <a:spcPct val="107000"/>
              </a:lnSpc>
              <a:spcAft>
                <a:spcPts val="1600"/>
              </a:spcAft>
            </a:pPr>
            <a:r>
              <a:rPr lang="nl-NL" sz="4000" b="1" dirty="0">
                <a:cs typeface="Times New Roman" panose="02020603050405020304" pitchFamily="18" charset="0"/>
              </a:rPr>
              <a:t>Maatschappelijk</a:t>
            </a:r>
            <a:br>
              <a:rPr lang="nl-NL" sz="4000" b="1" dirty="0">
                <a:cs typeface="Times New Roman" panose="02020603050405020304" pitchFamily="18" charset="0"/>
              </a:rPr>
            </a:br>
            <a:r>
              <a:rPr lang="nl-NL" sz="4000" b="1" dirty="0">
                <a:cs typeface="Times New Roman" panose="02020603050405020304" pitchFamily="18" charset="0"/>
              </a:rPr>
              <a:t>- </a:t>
            </a:r>
            <a:r>
              <a:rPr lang="nl-NL" sz="4000" dirty="0">
                <a:cs typeface="Times New Roman" panose="02020603050405020304" pitchFamily="18" charset="0"/>
              </a:rPr>
              <a:t>Is er aandacht voor eerlijke verdeling van lasten en baten? </a:t>
            </a:r>
            <a:br>
              <a:rPr lang="nl-NL" sz="4000" dirty="0">
                <a:cs typeface="Times New Roman" panose="02020603050405020304" pitchFamily="18" charset="0"/>
              </a:rPr>
            </a:br>
            <a:r>
              <a:rPr lang="nl-NL" sz="4000" dirty="0">
                <a:cs typeface="Times New Roman" panose="02020603050405020304" pitchFamily="18" charset="0"/>
              </a:rPr>
              <a:t>- Stelt het mensen in staat te participeren in ontwerp, planning, en implementatie?</a:t>
            </a:r>
            <a:br>
              <a:rPr lang="nl-NL" sz="4000" dirty="0">
                <a:cs typeface="Times New Roman" panose="02020603050405020304" pitchFamily="18" charset="0"/>
              </a:rPr>
            </a:br>
            <a:r>
              <a:rPr lang="nl-NL" sz="4000" dirty="0">
                <a:cs typeface="Times New Roman" panose="02020603050405020304" pitchFamily="18" charset="0"/>
              </a:rPr>
              <a:t>- Probeert het mensen te bereiken die gemarginaliseerd zijn </a:t>
            </a:r>
          </a:p>
          <a:p>
            <a:pPr>
              <a:lnSpc>
                <a:spcPct val="107000"/>
              </a:lnSpc>
              <a:spcAft>
                <a:spcPts val="1600"/>
              </a:spcAft>
            </a:pPr>
            <a:endParaRPr lang="nl-NL" sz="3600" dirty="0">
              <a:latin typeface="Arial" panose="020B0604020202020204" pitchFamily="34" charset="0"/>
              <a:ea typeface="Calibri" panose="020F0502020204030204" pitchFamily="34" charset="0"/>
              <a:cs typeface="Times New Roman" panose="02020603050405020304" pitchFamily="18" charset="0"/>
            </a:endParaRPr>
          </a:p>
        </p:txBody>
      </p:sp>
      <p:sp>
        <p:nvSpPr>
          <p:cNvPr id="4" name="SmartArt Placeholder 3">
            <a:extLst>
              <a:ext uri="{FF2B5EF4-FFF2-40B4-BE49-F238E27FC236}">
                <a16:creationId xmlns:a16="http://schemas.microsoft.com/office/drawing/2014/main" id="{34BA91EA-8EB4-DF52-F505-7D187D471352}"/>
              </a:ext>
            </a:extLst>
          </p:cNvPr>
          <p:cNvSpPr>
            <a:spLocks noGrp="1"/>
          </p:cNvSpPr>
          <p:nvPr>
            <p:ph type="dgm" sz="quarter" idx="12"/>
          </p:nvPr>
        </p:nvSpPr>
        <p:spPr/>
      </p:sp>
    </p:spTree>
    <p:extLst>
      <p:ext uri="{BB962C8B-B14F-4D97-AF65-F5344CB8AC3E}">
        <p14:creationId xmlns:p14="http://schemas.microsoft.com/office/powerpoint/2010/main" val="42412081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FC77CC-3C98-FC4E-1AF0-442FD0D4CAC7}"/>
              </a:ext>
            </a:extLst>
          </p:cNvPr>
          <p:cNvSpPr>
            <a:spLocks noGrp="1"/>
          </p:cNvSpPr>
          <p:nvPr>
            <p:ph type="title"/>
          </p:nvPr>
        </p:nvSpPr>
        <p:spPr/>
        <p:txBody>
          <a:bodyPr/>
          <a:lstStyle/>
          <a:p>
            <a:r>
              <a:rPr lang="en-US" dirty="0" err="1"/>
              <a:t>Haalbaarheid</a:t>
            </a:r>
            <a:endParaRPr lang="nl-NL" dirty="0"/>
          </a:p>
        </p:txBody>
      </p:sp>
      <p:sp>
        <p:nvSpPr>
          <p:cNvPr id="3" name="Text Placeholder 2">
            <a:extLst>
              <a:ext uri="{FF2B5EF4-FFF2-40B4-BE49-F238E27FC236}">
                <a16:creationId xmlns:a16="http://schemas.microsoft.com/office/drawing/2014/main" id="{7EC289EF-0301-9EBA-8CD4-A025B5DFAAB9}"/>
              </a:ext>
            </a:extLst>
          </p:cNvPr>
          <p:cNvSpPr>
            <a:spLocks noGrp="1"/>
          </p:cNvSpPr>
          <p:nvPr>
            <p:ph type="body" sz="quarter" idx="11"/>
          </p:nvPr>
        </p:nvSpPr>
        <p:spPr/>
        <p:txBody>
          <a:bodyPr/>
          <a:lstStyle/>
          <a:p>
            <a:r>
              <a:rPr lang="nl-NL" sz="4000" b="1" dirty="0">
                <a:cs typeface="Times New Roman" panose="02020603050405020304" pitchFamily="18" charset="0"/>
              </a:rPr>
              <a:t>Steun: </a:t>
            </a:r>
            <a:r>
              <a:rPr lang="nl-NL" sz="4000" dirty="0">
                <a:cs typeface="Times New Roman" panose="02020603050405020304" pitchFamily="18" charset="0"/>
              </a:rPr>
              <a:t>Is er steun, betrokkenheid, enthousiasme en eigenaarschap vanuit diverse netwerken voor dit initiatief? </a:t>
            </a:r>
          </a:p>
          <a:p>
            <a:pPr>
              <a:lnSpc>
                <a:spcPct val="107000"/>
              </a:lnSpc>
              <a:spcAft>
                <a:spcPts val="1600"/>
              </a:spcAft>
            </a:pPr>
            <a:endParaRPr lang="nl-NL" sz="4000" b="1" dirty="0">
              <a:cs typeface="Times New Roman" panose="02020603050405020304" pitchFamily="18" charset="0"/>
            </a:endParaRPr>
          </a:p>
          <a:p>
            <a:pPr>
              <a:lnSpc>
                <a:spcPct val="107000"/>
              </a:lnSpc>
              <a:spcAft>
                <a:spcPts val="1600"/>
              </a:spcAft>
            </a:pPr>
            <a:r>
              <a:rPr lang="nl-NL" sz="4000" b="1" dirty="0">
                <a:cs typeface="Times New Roman" panose="02020603050405020304" pitchFamily="18" charset="0"/>
              </a:rPr>
              <a:t>Urgentie &amp; context: s</a:t>
            </a:r>
            <a:r>
              <a:rPr lang="en-GB" sz="4000" dirty="0" err="1">
                <a:cs typeface="Times New Roman" panose="02020603050405020304" pitchFamily="18" charset="0"/>
              </a:rPr>
              <a:t>peelt</a:t>
            </a:r>
            <a:r>
              <a:rPr lang="en-GB" sz="4000" dirty="0">
                <a:cs typeface="Times New Roman" panose="02020603050405020304" pitchFamily="18" charset="0"/>
              </a:rPr>
              <a:t> het slim in op crisis en/of </a:t>
            </a:r>
            <a:r>
              <a:rPr lang="en-GB" sz="4000" dirty="0" err="1">
                <a:cs typeface="Times New Roman" panose="02020603050405020304" pitchFamily="18" charset="0"/>
              </a:rPr>
              <a:t>kansen</a:t>
            </a:r>
            <a:r>
              <a:rPr lang="en-GB" sz="4000" dirty="0">
                <a:cs typeface="Times New Roman" panose="02020603050405020304" pitchFamily="18" charset="0"/>
              </a:rPr>
              <a:t> in de </a:t>
            </a:r>
            <a:r>
              <a:rPr lang="en-GB" sz="4000" dirty="0" err="1">
                <a:cs typeface="Times New Roman" panose="02020603050405020304" pitchFamily="18" charset="0"/>
              </a:rPr>
              <a:t>omgeving</a:t>
            </a:r>
            <a:r>
              <a:rPr lang="en-GB" sz="4000" dirty="0">
                <a:cs typeface="Times New Roman" panose="02020603050405020304" pitchFamily="18" charset="0"/>
              </a:rPr>
              <a:t>/</a:t>
            </a:r>
            <a:r>
              <a:rPr lang="en-GB" sz="4000" dirty="0" err="1">
                <a:cs typeface="Times New Roman" panose="02020603050405020304" pitchFamily="18" charset="0"/>
              </a:rPr>
              <a:t>andre</a:t>
            </a:r>
            <a:r>
              <a:rPr lang="en-GB" sz="4000" dirty="0">
                <a:cs typeface="Times New Roman" panose="02020603050405020304" pitchFamily="18" charset="0"/>
              </a:rPr>
              <a:t> </a:t>
            </a:r>
            <a:r>
              <a:rPr lang="en-GB" sz="4000" dirty="0" err="1">
                <a:cs typeface="Times New Roman" panose="02020603050405020304" pitchFamily="18" charset="0"/>
              </a:rPr>
              <a:t>domeinen</a:t>
            </a:r>
            <a:r>
              <a:rPr lang="en-GB" sz="4000" dirty="0">
                <a:cs typeface="Times New Roman" panose="02020603050405020304" pitchFamily="18" charset="0"/>
              </a:rPr>
              <a:t>?</a:t>
            </a:r>
          </a:p>
          <a:p>
            <a:endParaRPr lang="en-GB" sz="4000" dirty="0">
              <a:cs typeface="Times New Roman" panose="02020603050405020304" pitchFamily="18" charset="0"/>
            </a:endParaRPr>
          </a:p>
          <a:p>
            <a:pPr>
              <a:lnSpc>
                <a:spcPct val="107000"/>
              </a:lnSpc>
              <a:spcAft>
                <a:spcPts val="1600"/>
              </a:spcAft>
            </a:pPr>
            <a:r>
              <a:rPr lang="nl-NL" sz="4000" b="1" dirty="0">
                <a:cs typeface="Times New Roman" panose="02020603050405020304" pitchFamily="18" charset="0"/>
              </a:rPr>
              <a:t>Schaalbaar en herhaalbaar: i</a:t>
            </a:r>
            <a:r>
              <a:rPr lang="nl-NL" sz="4000" dirty="0">
                <a:cs typeface="Times New Roman" panose="02020603050405020304" pitchFamily="18" charset="0"/>
              </a:rPr>
              <a:t>s het initiatief makkelijk schaalbaar? Is het initiatief makkelijk </a:t>
            </a:r>
            <a:r>
              <a:rPr lang="nl-NL" sz="4000" dirty="0" err="1">
                <a:cs typeface="Times New Roman" panose="02020603050405020304" pitchFamily="18" charset="0"/>
              </a:rPr>
              <a:t>heraalbaar</a:t>
            </a:r>
            <a:r>
              <a:rPr lang="nl-NL" sz="4000" dirty="0">
                <a:cs typeface="Times New Roman" panose="02020603050405020304" pitchFamily="18" charset="0"/>
              </a:rPr>
              <a:t> in een andere omgeving? </a:t>
            </a:r>
          </a:p>
          <a:p>
            <a:endParaRPr lang="nl-NL" dirty="0"/>
          </a:p>
        </p:txBody>
      </p:sp>
      <p:sp>
        <p:nvSpPr>
          <p:cNvPr id="4" name="SmartArt Placeholder 3">
            <a:extLst>
              <a:ext uri="{FF2B5EF4-FFF2-40B4-BE49-F238E27FC236}">
                <a16:creationId xmlns:a16="http://schemas.microsoft.com/office/drawing/2014/main" id="{63A4B033-3B8D-CEF0-8F86-30DBF9AE645E}"/>
              </a:ext>
            </a:extLst>
          </p:cNvPr>
          <p:cNvSpPr>
            <a:spLocks noGrp="1"/>
          </p:cNvSpPr>
          <p:nvPr>
            <p:ph type="dgm" sz="quarter" idx="12"/>
          </p:nvPr>
        </p:nvSpPr>
        <p:spPr/>
      </p:sp>
    </p:spTree>
    <p:extLst>
      <p:ext uri="{BB962C8B-B14F-4D97-AF65-F5344CB8AC3E}">
        <p14:creationId xmlns:p14="http://schemas.microsoft.com/office/powerpoint/2010/main" val="11267292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drift-logo-horizontaal.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90608" y="601134"/>
            <a:ext cx="3531280" cy="660000"/>
          </a:xfrm>
          <a:prstGeom prst="rect">
            <a:avLst/>
          </a:prstGeom>
        </p:spPr>
      </p:pic>
      <p:sp>
        <p:nvSpPr>
          <p:cNvPr id="5" name="Rectangle 4"/>
          <p:cNvSpPr/>
          <p:nvPr/>
        </p:nvSpPr>
        <p:spPr>
          <a:xfrm>
            <a:off x="2071136" y="2351763"/>
            <a:ext cx="2650752" cy="229810"/>
          </a:xfrm>
          <a:prstGeom prst="rect">
            <a:avLst/>
          </a:prstGeom>
          <a:solidFill>
            <a:schemeClr val="tx1"/>
          </a:solidFill>
          <a:ln>
            <a:noFill/>
          </a:ln>
          <a:effectLst/>
        </p:spPr>
        <p:style>
          <a:lnRef idx="1">
            <a:schemeClr val="dk1"/>
          </a:lnRef>
          <a:fillRef idx="3">
            <a:schemeClr val="dk1"/>
          </a:fillRef>
          <a:effectRef idx="2">
            <a:schemeClr val="dk1"/>
          </a:effectRef>
          <a:fontRef idx="minor">
            <a:schemeClr val="lt1"/>
          </a:fontRef>
        </p:style>
        <p:txBody>
          <a:bodyPr/>
          <a:lstStyle/>
          <a:p>
            <a:pPr defTabSz="1828800" hangingPunct="1">
              <a:lnSpc>
                <a:spcPct val="100000"/>
              </a:lnSpc>
              <a:spcBef>
                <a:spcPts val="0"/>
              </a:spcBef>
            </a:pPr>
            <a:endParaRPr lang="en-US" kern="1200">
              <a:solidFill>
                <a:prstClr val="white"/>
              </a:solidFill>
              <a:latin typeface="Calibri" panose="020F0502020204030204"/>
            </a:endParaRPr>
          </a:p>
        </p:txBody>
      </p:sp>
      <p:sp>
        <p:nvSpPr>
          <p:cNvPr id="7" name="TextBox 6"/>
          <p:cNvSpPr txBox="1"/>
          <p:nvPr/>
        </p:nvSpPr>
        <p:spPr>
          <a:xfrm>
            <a:off x="1840557" y="2581570"/>
            <a:ext cx="15397578" cy="9941183"/>
          </a:xfrm>
          <a:prstGeom prst="rect">
            <a:avLst/>
          </a:prstGeom>
          <a:noFill/>
        </p:spPr>
        <p:txBody>
          <a:bodyPr wrap="square" rtlCol="0">
            <a:spAutoFit/>
          </a:bodyPr>
          <a:lstStyle/>
          <a:p>
            <a:pPr defTabSz="1828800" hangingPunct="1">
              <a:lnSpc>
                <a:spcPct val="100000"/>
              </a:lnSpc>
              <a:spcBef>
                <a:spcPts val="0"/>
              </a:spcBef>
            </a:pPr>
            <a:r>
              <a:rPr lang="nl-NL" sz="6400" kern="1200" dirty="0">
                <a:solidFill>
                  <a:prstClr val="black"/>
                </a:solidFill>
                <a:latin typeface="Campton Book" panose="00000800000000000000" pitchFamily="50" charset="0"/>
                <a:cs typeface="Arial" panose="020B0604020202020204" pitchFamily="34" charset="0"/>
              </a:rPr>
              <a:t>Geen heilige graal</a:t>
            </a:r>
          </a:p>
          <a:p>
            <a:pPr defTabSz="1828800" hangingPunct="1">
              <a:lnSpc>
                <a:spcPct val="100000"/>
              </a:lnSpc>
              <a:spcBef>
                <a:spcPts val="0"/>
              </a:spcBef>
              <a:spcAft>
                <a:spcPts val="4800"/>
              </a:spcAft>
            </a:pPr>
            <a:endParaRPr lang="nl-NL" kern="1200" dirty="0">
              <a:solidFill>
                <a:prstClr val="black"/>
              </a:solidFill>
              <a:latin typeface="Campton Light" panose="00000400000000000000" pitchFamily="50" charset="0"/>
              <a:cs typeface="Arial" panose="020B0604020202020204" pitchFamily="34" charset="0"/>
            </a:endParaRPr>
          </a:p>
          <a:p>
            <a:pPr marL="914378" indent="-914378" defTabSz="1828800" hangingPunct="1">
              <a:lnSpc>
                <a:spcPct val="100000"/>
              </a:lnSpc>
              <a:spcBef>
                <a:spcPts val="0"/>
              </a:spcBef>
              <a:spcAft>
                <a:spcPts val="4800"/>
              </a:spcAft>
              <a:buFont typeface="Arial" panose="020B0604020202020204" pitchFamily="34" charset="0"/>
              <a:buChar char="•"/>
            </a:pPr>
            <a:r>
              <a:rPr lang="nl-NL" kern="1200" dirty="0">
                <a:solidFill>
                  <a:prstClr val="black"/>
                </a:solidFill>
                <a:latin typeface="Campton Light" panose="00000400000000000000" pitchFamily="50" charset="0"/>
                <a:cs typeface="Arial" panose="020B0604020202020204" pitchFamily="34" charset="0"/>
              </a:rPr>
              <a:t>Diversiteit van functies</a:t>
            </a:r>
          </a:p>
          <a:p>
            <a:pPr marL="914378" indent="-914378" defTabSz="1828800" hangingPunct="1">
              <a:lnSpc>
                <a:spcPct val="100000"/>
              </a:lnSpc>
              <a:spcBef>
                <a:spcPts val="0"/>
              </a:spcBef>
              <a:spcAft>
                <a:spcPts val="4800"/>
              </a:spcAft>
              <a:buFont typeface="Arial" panose="020B0604020202020204" pitchFamily="34" charset="0"/>
              <a:buChar char="•"/>
            </a:pPr>
            <a:r>
              <a:rPr lang="nl-NL" kern="1200" dirty="0">
                <a:solidFill>
                  <a:prstClr val="black"/>
                </a:solidFill>
                <a:latin typeface="Campton Light" panose="00000400000000000000" pitchFamily="50" charset="0"/>
                <a:cs typeface="Arial" panose="020B0604020202020204" pitchFamily="34" charset="0"/>
              </a:rPr>
              <a:t>Ook </a:t>
            </a:r>
            <a:r>
              <a:rPr lang="nl-NL" kern="1200" dirty="0" err="1">
                <a:solidFill>
                  <a:prstClr val="black"/>
                </a:solidFill>
                <a:latin typeface="Campton Light" panose="00000400000000000000" pitchFamily="50" charset="0"/>
                <a:cs typeface="Arial" panose="020B0604020202020204" pitchFamily="34" charset="0"/>
              </a:rPr>
              <a:t>trade-offs</a:t>
            </a:r>
            <a:r>
              <a:rPr lang="nl-NL" kern="1200" dirty="0">
                <a:solidFill>
                  <a:prstClr val="black"/>
                </a:solidFill>
                <a:latin typeface="Campton Light" panose="00000400000000000000" pitchFamily="50" charset="0"/>
                <a:cs typeface="Arial" panose="020B0604020202020204" pitchFamily="34" charset="0"/>
              </a:rPr>
              <a:t> onderling (iconisch </a:t>
            </a:r>
            <a:r>
              <a:rPr lang="nl-NL" kern="1200" dirty="0" err="1">
                <a:solidFill>
                  <a:prstClr val="black"/>
                </a:solidFill>
                <a:latin typeface="Campton Light" panose="00000400000000000000" pitchFamily="50" charset="0"/>
                <a:cs typeface="Arial" panose="020B0604020202020204" pitchFamily="34" charset="0"/>
              </a:rPr>
              <a:t>vs</a:t>
            </a:r>
            <a:r>
              <a:rPr lang="nl-NL" kern="1200" dirty="0">
                <a:solidFill>
                  <a:prstClr val="black"/>
                </a:solidFill>
                <a:latin typeface="Campton Light" panose="00000400000000000000" pitchFamily="50" charset="0"/>
                <a:cs typeface="Arial" panose="020B0604020202020204" pitchFamily="34" charset="0"/>
              </a:rPr>
              <a:t> resultaatgericht)</a:t>
            </a:r>
          </a:p>
          <a:p>
            <a:pPr marL="914378" indent="-914378" defTabSz="1828800" hangingPunct="1">
              <a:lnSpc>
                <a:spcPct val="100000"/>
              </a:lnSpc>
              <a:spcBef>
                <a:spcPts val="0"/>
              </a:spcBef>
              <a:spcAft>
                <a:spcPts val="4800"/>
              </a:spcAft>
              <a:buFont typeface="Arial" panose="020B0604020202020204" pitchFamily="34" charset="0"/>
              <a:buChar char="•"/>
            </a:pPr>
            <a:r>
              <a:rPr lang="nl-NL" kern="1200" dirty="0">
                <a:solidFill>
                  <a:prstClr val="black"/>
                </a:solidFill>
                <a:latin typeface="Campton Light" panose="00000400000000000000" pitchFamily="50" charset="0"/>
                <a:cs typeface="Arial" panose="020B0604020202020204" pitchFamily="34" charset="0"/>
              </a:rPr>
              <a:t>Kiezen voor balans of juist extremen?</a:t>
            </a:r>
          </a:p>
          <a:p>
            <a:pPr marL="914378" indent="-914378" defTabSz="1828800" hangingPunct="1">
              <a:lnSpc>
                <a:spcPct val="100000"/>
              </a:lnSpc>
              <a:spcBef>
                <a:spcPts val="0"/>
              </a:spcBef>
              <a:spcAft>
                <a:spcPts val="4800"/>
              </a:spcAft>
              <a:buFont typeface="Arial" panose="020B0604020202020204" pitchFamily="34" charset="0"/>
              <a:buChar char="•"/>
            </a:pPr>
            <a:r>
              <a:rPr lang="nl-NL" kern="1200" dirty="0">
                <a:solidFill>
                  <a:prstClr val="black"/>
                </a:solidFill>
                <a:latin typeface="Campton Light" panose="00000400000000000000" pitchFamily="50" charset="0"/>
                <a:cs typeface="Arial" panose="020B0604020202020204" pitchFamily="34" charset="0"/>
              </a:rPr>
              <a:t>Portfolio-aanpak als kan</a:t>
            </a:r>
          </a:p>
          <a:p>
            <a:pPr marL="914378" indent="-914378" defTabSz="1828800" hangingPunct="1">
              <a:lnSpc>
                <a:spcPct val="100000"/>
              </a:lnSpc>
              <a:spcBef>
                <a:spcPts val="0"/>
              </a:spcBef>
              <a:spcAft>
                <a:spcPts val="4800"/>
              </a:spcAft>
              <a:buFont typeface="Arial" panose="020B0604020202020204" pitchFamily="34" charset="0"/>
              <a:buChar char="•"/>
            </a:pPr>
            <a:r>
              <a:rPr lang="nl-NL" kern="1200" dirty="0">
                <a:solidFill>
                  <a:prstClr val="black"/>
                </a:solidFill>
                <a:latin typeface="Campton Light" panose="00000400000000000000" pitchFamily="50" charset="0"/>
                <a:cs typeface="Arial" panose="020B0604020202020204" pitchFamily="34" charset="0"/>
              </a:rPr>
              <a:t>Leerdoelen en monitoring essentieel</a:t>
            </a:r>
          </a:p>
          <a:p>
            <a:pPr marL="914378" indent="-914378" defTabSz="1828800" hangingPunct="1">
              <a:lnSpc>
                <a:spcPct val="100000"/>
              </a:lnSpc>
              <a:spcBef>
                <a:spcPts val="0"/>
              </a:spcBef>
              <a:spcAft>
                <a:spcPts val="4800"/>
              </a:spcAft>
              <a:buFont typeface="Arial" panose="020B0604020202020204" pitchFamily="34" charset="0"/>
              <a:buChar char="•"/>
            </a:pPr>
            <a:endParaRPr lang="nl-NL" kern="1200" dirty="0">
              <a:solidFill>
                <a:prstClr val="black"/>
              </a:solidFill>
              <a:latin typeface="Campton Light" panose="00000400000000000000" pitchFamily="50" charset="0"/>
              <a:cs typeface="Arial" panose="020B0604020202020204" pitchFamily="34" charset="0"/>
            </a:endParaRPr>
          </a:p>
        </p:txBody>
      </p:sp>
      <p:sp>
        <p:nvSpPr>
          <p:cNvPr id="11" name="Rectangle 10"/>
          <p:cNvSpPr/>
          <p:nvPr/>
        </p:nvSpPr>
        <p:spPr>
          <a:xfrm>
            <a:off x="18240670" y="2351763"/>
            <a:ext cx="2650752" cy="229810"/>
          </a:xfrm>
          <a:prstGeom prst="rect">
            <a:avLst/>
          </a:prstGeom>
          <a:solidFill>
            <a:schemeClr val="tx1"/>
          </a:solidFill>
          <a:ln>
            <a:noFill/>
          </a:ln>
          <a:effectLst/>
        </p:spPr>
        <p:style>
          <a:lnRef idx="1">
            <a:schemeClr val="dk1"/>
          </a:lnRef>
          <a:fillRef idx="3">
            <a:schemeClr val="dk1"/>
          </a:fillRef>
          <a:effectRef idx="2">
            <a:schemeClr val="dk1"/>
          </a:effectRef>
          <a:fontRef idx="minor">
            <a:schemeClr val="lt1"/>
          </a:fontRef>
        </p:style>
        <p:txBody>
          <a:bodyPr/>
          <a:lstStyle/>
          <a:p>
            <a:pPr defTabSz="1828800" hangingPunct="1">
              <a:lnSpc>
                <a:spcPct val="100000"/>
              </a:lnSpc>
              <a:spcBef>
                <a:spcPts val="0"/>
              </a:spcBef>
            </a:pPr>
            <a:endParaRPr lang="en-US" kern="1200">
              <a:solidFill>
                <a:prstClr val="white"/>
              </a:solidFill>
              <a:latin typeface="Calibri" panose="020F0502020204030204"/>
            </a:endParaRPr>
          </a:p>
        </p:txBody>
      </p:sp>
      <p:pic>
        <p:nvPicPr>
          <p:cNvPr id="3" name="Picture 2" descr="A gold vase sitting on a table&#10;&#10;Description automatically generated">
            <a:extLst>
              <a:ext uri="{FF2B5EF4-FFF2-40B4-BE49-F238E27FC236}">
                <a16:creationId xmlns:a16="http://schemas.microsoft.com/office/drawing/2014/main" id="{CE8C79A4-A0E1-4E7E-AB81-314C5668EC71}"/>
              </a:ext>
            </a:extLst>
          </p:cNvPr>
          <p:cNvPicPr>
            <a:picLocks noChangeAspect="1"/>
          </p:cNvPicPr>
          <p:nvPr/>
        </p:nvPicPr>
        <p:blipFill>
          <a:blip r:embed="rId4"/>
          <a:stretch>
            <a:fillRect/>
          </a:stretch>
        </p:blipFill>
        <p:spPr>
          <a:xfrm>
            <a:off x="17238135" y="4693927"/>
            <a:ext cx="5199046" cy="8107674"/>
          </a:xfrm>
          <a:prstGeom prst="rect">
            <a:avLst/>
          </a:prstGeom>
        </p:spPr>
      </p:pic>
      <p:cxnSp>
        <p:nvCxnSpPr>
          <p:cNvPr id="9" name="Straight Connector 8">
            <a:extLst>
              <a:ext uri="{FF2B5EF4-FFF2-40B4-BE49-F238E27FC236}">
                <a16:creationId xmlns:a16="http://schemas.microsoft.com/office/drawing/2014/main" id="{755D28FF-BEF3-48A8-B7B6-B96E1D8F31EA}"/>
              </a:ext>
            </a:extLst>
          </p:cNvPr>
          <p:cNvCxnSpPr>
            <a:cxnSpLocks/>
          </p:cNvCxnSpPr>
          <p:nvPr/>
        </p:nvCxnSpPr>
        <p:spPr>
          <a:xfrm>
            <a:off x="17610666" y="5655735"/>
            <a:ext cx="4826512" cy="5621866"/>
          </a:xfrm>
          <a:prstGeom prst="line">
            <a:avLst/>
          </a:prstGeom>
          <a:ln w="1238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F1114F13-D3BF-4D72-A48A-205F7EB6C7B1}"/>
              </a:ext>
            </a:extLst>
          </p:cNvPr>
          <p:cNvCxnSpPr>
            <a:cxnSpLocks/>
          </p:cNvCxnSpPr>
          <p:nvPr/>
        </p:nvCxnSpPr>
        <p:spPr>
          <a:xfrm flipH="1">
            <a:off x="17610666" y="4693926"/>
            <a:ext cx="4826512" cy="6440504"/>
          </a:xfrm>
          <a:prstGeom prst="line">
            <a:avLst/>
          </a:prstGeom>
          <a:ln w="123825">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449680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martArt Placeholder 1">
            <a:extLst>
              <a:ext uri="{FF2B5EF4-FFF2-40B4-BE49-F238E27FC236}">
                <a16:creationId xmlns:a16="http://schemas.microsoft.com/office/drawing/2014/main" id="{A350BA85-F0B9-BE37-9B49-3B7A591FB1D7}"/>
              </a:ext>
            </a:extLst>
          </p:cNvPr>
          <p:cNvSpPr>
            <a:spLocks noGrp="1"/>
          </p:cNvSpPr>
          <p:nvPr>
            <p:ph type="dgm" sz="quarter" idx="12"/>
          </p:nvPr>
        </p:nvSpPr>
        <p:spPr/>
      </p:sp>
      <p:sp>
        <p:nvSpPr>
          <p:cNvPr id="3" name="Title 2">
            <a:extLst>
              <a:ext uri="{FF2B5EF4-FFF2-40B4-BE49-F238E27FC236}">
                <a16:creationId xmlns:a16="http://schemas.microsoft.com/office/drawing/2014/main" id="{F3BCE389-08E5-4000-D57B-BD5605002BC6}"/>
              </a:ext>
            </a:extLst>
          </p:cNvPr>
          <p:cNvSpPr>
            <a:spLocks noGrp="1"/>
          </p:cNvSpPr>
          <p:nvPr>
            <p:ph type="title"/>
          </p:nvPr>
        </p:nvSpPr>
        <p:spPr/>
        <p:txBody>
          <a:bodyPr/>
          <a:lstStyle/>
          <a:p>
            <a:endParaRPr lang="nl-NL"/>
          </a:p>
        </p:txBody>
      </p:sp>
      <p:sp>
        <p:nvSpPr>
          <p:cNvPr id="4" name="Text Placeholder 3">
            <a:extLst>
              <a:ext uri="{FF2B5EF4-FFF2-40B4-BE49-F238E27FC236}">
                <a16:creationId xmlns:a16="http://schemas.microsoft.com/office/drawing/2014/main" id="{78B41EB3-C209-EF64-5C03-31DAA0C1E58F}"/>
              </a:ext>
            </a:extLst>
          </p:cNvPr>
          <p:cNvSpPr>
            <a:spLocks noGrp="1"/>
          </p:cNvSpPr>
          <p:nvPr>
            <p:ph type="body" sz="quarter" idx="11"/>
          </p:nvPr>
        </p:nvSpPr>
        <p:spPr/>
        <p:txBody>
          <a:bodyPr/>
          <a:lstStyle/>
          <a:p>
            <a:r>
              <a:rPr lang="en-US" dirty="0" err="1"/>
              <a:t>Vragen</a:t>
            </a:r>
            <a:r>
              <a:rPr lang="en-US" dirty="0"/>
              <a:t>?</a:t>
            </a:r>
            <a:endParaRPr lang="nl-NL" dirty="0"/>
          </a:p>
        </p:txBody>
      </p:sp>
      <p:sp>
        <p:nvSpPr>
          <p:cNvPr id="5" name="SmartArt Placeholder 4">
            <a:extLst>
              <a:ext uri="{FF2B5EF4-FFF2-40B4-BE49-F238E27FC236}">
                <a16:creationId xmlns:a16="http://schemas.microsoft.com/office/drawing/2014/main" id="{F0593454-52C0-3D20-F123-172EA61CDF86}"/>
              </a:ext>
            </a:extLst>
          </p:cNvPr>
          <p:cNvSpPr>
            <a:spLocks noGrp="1"/>
          </p:cNvSpPr>
          <p:nvPr>
            <p:ph type="dgm" sz="quarter" idx="14"/>
          </p:nvPr>
        </p:nvSpPr>
        <p:spPr/>
      </p:sp>
    </p:spTree>
    <p:extLst>
      <p:ext uri="{BB962C8B-B14F-4D97-AF65-F5344CB8AC3E}">
        <p14:creationId xmlns:p14="http://schemas.microsoft.com/office/powerpoint/2010/main" val="17928429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D5EFA-B4C0-4ED0-8C28-28D45D90111A}"/>
              </a:ext>
            </a:extLst>
          </p:cNvPr>
          <p:cNvSpPr>
            <a:spLocks noGrp="1"/>
          </p:cNvSpPr>
          <p:nvPr>
            <p:ph type="title"/>
          </p:nvPr>
        </p:nvSpPr>
        <p:spPr>
          <a:xfrm>
            <a:off x="1841080" y="1866262"/>
            <a:ext cx="20701840" cy="1398277"/>
          </a:xfrm>
        </p:spPr>
        <p:txBody>
          <a:bodyPr/>
          <a:lstStyle/>
          <a:p>
            <a:r>
              <a:rPr lang="en-US" err="1"/>
              <a:t>Transitiepaden</a:t>
            </a:r>
            <a:r>
              <a:rPr lang="en-US"/>
              <a:t> </a:t>
            </a:r>
            <a:r>
              <a:rPr lang="en-US" err="1"/>
              <a:t>naar</a:t>
            </a:r>
            <a:r>
              <a:rPr lang="en-US"/>
              <a:t> </a:t>
            </a:r>
            <a:r>
              <a:rPr lang="en-US" err="1"/>
              <a:t>een</a:t>
            </a:r>
            <a:r>
              <a:rPr lang="en-US"/>
              <a:t> biobased </a:t>
            </a:r>
            <a:r>
              <a:rPr lang="en-US" err="1"/>
              <a:t>toekomst</a:t>
            </a:r>
            <a:endParaRPr lang="nl-NL"/>
          </a:p>
        </p:txBody>
      </p:sp>
      <p:sp>
        <p:nvSpPr>
          <p:cNvPr id="4" name="SmartArt Placeholder 3">
            <a:extLst>
              <a:ext uri="{FF2B5EF4-FFF2-40B4-BE49-F238E27FC236}">
                <a16:creationId xmlns:a16="http://schemas.microsoft.com/office/drawing/2014/main" id="{722E65AE-8F2B-4AF0-A40A-FA837CBAA150}"/>
              </a:ext>
            </a:extLst>
          </p:cNvPr>
          <p:cNvSpPr>
            <a:spLocks noGrp="1"/>
          </p:cNvSpPr>
          <p:nvPr>
            <p:ph type="dgm" sz="quarter" idx="12"/>
          </p:nvPr>
        </p:nvSpPr>
        <p:spPr/>
      </p:sp>
      <p:pic>
        <p:nvPicPr>
          <p:cNvPr id="5" name="Picture 4">
            <a:extLst>
              <a:ext uri="{FF2B5EF4-FFF2-40B4-BE49-F238E27FC236}">
                <a16:creationId xmlns:a16="http://schemas.microsoft.com/office/drawing/2014/main" id="{E519ACB0-0BC8-4A91-B7EB-DC96E30461E2}"/>
              </a:ext>
            </a:extLst>
          </p:cNvPr>
          <p:cNvPicPr>
            <a:picLocks noChangeAspect="1"/>
          </p:cNvPicPr>
          <p:nvPr/>
        </p:nvPicPr>
        <p:blipFill>
          <a:blip r:embed="rId2"/>
          <a:stretch>
            <a:fillRect/>
          </a:stretch>
        </p:blipFill>
        <p:spPr>
          <a:xfrm>
            <a:off x="762780" y="3820345"/>
            <a:ext cx="6894675" cy="4748888"/>
          </a:xfrm>
          <a:prstGeom prst="rect">
            <a:avLst/>
          </a:prstGeom>
        </p:spPr>
      </p:pic>
      <p:pic>
        <p:nvPicPr>
          <p:cNvPr id="6" name="Picture 5">
            <a:extLst>
              <a:ext uri="{FF2B5EF4-FFF2-40B4-BE49-F238E27FC236}">
                <a16:creationId xmlns:a16="http://schemas.microsoft.com/office/drawing/2014/main" id="{5024CF68-D8DA-456E-A275-84B747697B67}"/>
              </a:ext>
            </a:extLst>
          </p:cNvPr>
          <p:cNvPicPr>
            <a:picLocks noChangeAspect="1"/>
          </p:cNvPicPr>
          <p:nvPr/>
        </p:nvPicPr>
        <p:blipFill>
          <a:blip r:embed="rId3"/>
          <a:stretch>
            <a:fillRect/>
          </a:stretch>
        </p:blipFill>
        <p:spPr>
          <a:xfrm>
            <a:off x="11446132" y="3698060"/>
            <a:ext cx="6932787" cy="4715912"/>
          </a:xfrm>
          <a:prstGeom prst="rect">
            <a:avLst/>
          </a:prstGeom>
        </p:spPr>
      </p:pic>
      <p:pic>
        <p:nvPicPr>
          <p:cNvPr id="7" name="Picture 6">
            <a:extLst>
              <a:ext uri="{FF2B5EF4-FFF2-40B4-BE49-F238E27FC236}">
                <a16:creationId xmlns:a16="http://schemas.microsoft.com/office/drawing/2014/main" id="{97BC4E3B-EE64-4753-8FF8-E46A8AF35CAD}"/>
              </a:ext>
            </a:extLst>
          </p:cNvPr>
          <p:cNvPicPr>
            <a:picLocks noChangeAspect="1"/>
          </p:cNvPicPr>
          <p:nvPr/>
        </p:nvPicPr>
        <p:blipFill>
          <a:blip r:embed="rId4"/>
          <a:stretch>
            <a:fillRect/>
          </a:stretch>
        </p:blipFill>
        <p:spPr>
          <a:xfrm>
            <a:off x="5615556" y="8556460"/>
            <a:ext cx="6894675" cy="4855491"/>
          </a:xfrm>
          <a:prstGeom prst="rect">
            <a:avLst/>
          </a:prstGeom>
        </p:spPr>
      </p:pic>
      <p:pic>
        <p:nvPicPr>
          <p:cNvPr id="8" name="Picture 7">
            <a:extLst>
              <a:ext uri="{FF2B5EF4-FFF2-40B4-BE49-F238E27FC236}">
                <a16:creationId xmlns:a16="http://schemas.microsoft.com/office/drawing/2014/main" id="{ECAB4604-65E2-4E3F-B224-28A8A6EE0CD1}"/>
              </a:ext>
            </a:extLst>
          </p:cNvPr>
          <p:cNvPicPr>
            <a:picLocks noChangeAspect="1"/>
          </p:cNvPicPr>
          <p:nvPr/>
        </p:nvPicPr>
        <p:blipFill>
          <a:blip r:embed="rId5"/>
          <a:stretch>
            <a:fillRect/>
          </a:stretch>
        </p:blipFill>
        <p:spPr>
          <a:xfrm>
            <a:off x="15321111" y="8569233"/>
            <a:ext cx="6932787" cy="4855491"/>
          </a:xfrm>
          <a:prstGeom prst="rect">
            <a:avLst/>
          </a:prstGeom>
        </p:spPr>
      </p:pic>
    </p:spTree>
    <p:extLst>
      <p:ext uri="{BB962C8B-B14F-4D97-AF65-F5344CB8AC3E}">
        <p14:creationId xmlns:p14="http://schemas.microsoft.com/office/powerpoint/2010/main" val="19218868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hthoek: ezelsoor 54">
            <a:extLst>
              <a:ext uri="{FF2B5EF4-FFF2-40B4-BE49-F238E27FC236}">
                <a16:creationId xmlns:a16="http://schemas.microsoft.com/office/drawing/2014/main" id="{EE72AB3A-E0A7-4AF6-AFB7-395BA82215E0}"/>
              </a:ext>
            </a:extLst>
          </p:cNvPr>
          <p:cNvSpPr/>
          <p:nvPr/>
        </p:nvSpPr>
        <p:spPr>
          <a:xfrm>
            <a:off x="13658072" y="7720039"/>
            <a:ext cx="2246325" cy="2123651"/>
          </a:xfrm>
          <a:prstGeom prst="foldedCorner">
            <a:avLst/>
          </a:prstGeom>
          <a:solidFill>
            <a:schemeClr val="accent2">
              <a:lumMod val="20000"/>
              <a:lumOff val="80000"/>
            </a:schemeClr>
          </a:solidFill>
          <a:ln w="12700" cap="flat">
            <a:solidFill>
              <a:schemeClr val="accent2">
                <a:lumMod val="75000"/>
              </a:schemeClr>
            </a:solid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algn="ctr" defTabSz="1651021"/>
            <a:r>
              <a:rPr lang="nl-NL" sz="2400">
                <a:latin typeface="Helvetica Neue Medium"/>
                <a:ea typeface="Helvetica Neue Medium"/>
                <a:cs typeface="Helvetica Neue Medium"/>
              </a:rPr>
              <a:t>Voorwaarden voor toepassing</a:t>
            </a:r>
          </a:p>
        </p:txBody>
      </p:sp>
      <p:sp>
        <p:nvSpPr>
          <p:cNvPr id="3" name="Tijdelijke aanduiding voor dianummer 2">
            <a:extLst>
              <a:ext uri="{FF2B5EF4-FFF2-40B4-BE49-F238E27FC236}">
                <a16:creationId xmlns:a16="http://schemas.microsoft.com/office/drawing/2014/main" id="{00ECBE50-828A-4E0C-9CF7-E6E2DA2E7A0C}"/>
              </a:ext>
            </a:extLst>
          </p:cNvPr>
          <p:cNvSpPr>
            <a:spLocks noGrp="1"/>
          </p:cNvSpPr>
          <p:nvPr>
            <p:ph type="sldNum" sz="quarter" idx="10"/>
          </p:nvPr>
        </p:nvSpPr>
        <p:spPr/>
        <p:txBody>
          <a:bodyPr/>
          <a:lstStyle/>
          <a:p>
            <a:fld id="{86CB4B4D-7CA3-9044-876B-883B54F8677D}" type="slidenum">
              <a:rPr lang="nl-NL">
                <a:solidFill>
                  <a:srgbClr val="000000"/>
                </a:solidFill>
                <a:latin typeface="Source Sans Pro"/>
              </a:rPr>
              <a:pPr/>
              <a:t>25</a:t>
            </a:fld>
            <a:endParaRPr lang="nl-NL">
              <a:solidFill>
                <a:srgbClr val="000000"/>
              </a:solidFill>
              <a:latin typeface="Source Sans Pro"/>
            </a:endParaRPr>
          </a:p>
        </p:txBody>
      </p:sp>
      <p:sp>
        <p:nvSpPr>
          <p:cNvPr id="7" name="Tijdelijke aanduiding voor datum 6">
            <a:extLst>
              <a:ext uri="{FF2B5EF4-FFF2-40B4-BE49-F238E27FC236}">
                <a16:creationId xmlns:a16="http://schemas.microsoft.com/office/drawing/2014/main" id="{D248ECAA-AE5C-4D00-97A1-D593E951C3A3}"/>
              </a:ext>
            </a:extLst>
          </p:cNvPr>
          <p:cNvSpPr>
            <a:spLocks noGrp="1"/>
          </p:cNvSpPr>
          <p:nvPr>
            <p:ph type="dt" sz="half" idx="2"/>
          </p:nvPr>
        </p:nvSpPr>
        <p:spPr/>
        <p:txBody>
          <a:bodyPr/>
          <a:lstStyle/>
          <a:p>
            <a:pPr defTabSz="1828823"/>
            <a:fld id="{50C58389-12C7-4701-A74A-FE921C2C3097}" type="datetime4">
              <a:rPr lang="nl-NL">
                <a:solidFill>
                  <a:srgbClr val="000000"/>
                </a:solidFill>
                <a:latin typeface="Source Sans Pro"/>
              </a:rPr>
              <a:pPr defTabSz="1828823"/>
              <a:t>13 juni 2023</a:t>
            </a:fld>
            <a:endParaRPr lang="nl-NL">
              <a:solidFill>
                <a:srgbClr val="000000"/>
              </a:solidFill>
              <a:latin typeface="Source Sans Pro"/>
            </a:endParaRPr>
          </a:p>
        </p:txBody>
      </p:sp>
      <p:sp>
        <p:nvSpPr>
          <p:cNvPr id="11" name="Rechthoek: ezelsoor 10">
            <a:extLst>
              <a:ext uri="{FF2B5EF4-FFF2-40B4-BE49-F238E27FC236}">
                <a16:creationId xmlns:a16="http://schemas.microsoft.com/office/drawing/2014/main" id="{B52132E2-AF13-4CD6-A267-371C78051F2C}"/>
              </a:ext>
            </a:extLst>
          </p:cNvPr>
          <p:cNvSpPr/>
          <p:nvPr/>
        </p:nvSpPr>
        <p:spPr>
          <a:xfrm>
            <a:off x="11382408" y="5622550"/>
            <a:ext cx="4014235" cy="2520344"/>
          </a:xfrm>
          <a:prstGeom prst="foldedCorner">
            <a:avLst/>
          </a:prstGeom>
          <a:solidFill>
            <a:schemeClr val="accent2">
              <a:lumMod val="75000"/>
            </a:schemeClr>
          </a:solidFill>
          <a:ln w="12700" cap="flat">
            <a:solidFill>
              <a:schemeClr val="accent2">
                <a:lumMod val="75000"/>
              </a:schemeClr>
            </a:solid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algn="ctr" defTabSz="1651021"/>
            <a:r>
              <a:rPr lang="nl-NL" sz="2400" b="1">
                <a:latin typeface="Helvetica Neue Medium"/>
                <a:ea typeface="Helvetica Neue Medium"/>
                <a:cs typeface="Helvetica Neue Medium"/>
                <a:sym typeface="Helvetica Neue Medium"/>
              </a:rPr>
              <a:t>Fabriek voor biobased</a:t>
            </a:r>
            <a:r>
              <a:rPr lang="nl-NL" sz="2400" b="1">
                <a:latin typeface="Helvetica Neue Medium"/>
                <a:ea typeface="Calibri" panose="020F0502020204030204" pitchFamily="34" charset="0"/>
              </a:rPr>
              <a:t> materialen voor de bouw (zoals isolatieplaten</a:t>
            </a:r>
            <a:r>
              <a:rPr lang="nl-NL" sz="2400" b="1">
                <a:latin typeface="Helvetica Neue Medium"/>
                <a:ea typeface="Helvetica Neue Medium"/>
                <a:cs typeface="Helvetica Neue Medium"/>
                <a:sym typeface="Helvetica Neue Medium"/>
              </a:rPr>
              <a:t> of constructieve elementen)</a:t>
            </a:r>
          </a:p>
        </p:txBody>
      </p:sp>
      <p:sp>
        <p:nvSpPr>
          <p:cNvPr id="12" name="Rechthoek: ezelsoor 11">
            <a:extLst>
              <a:ext uri="{FF2B5EF4-FFF2-40B4-BE49-F238E27FC236}">
                <a16:creationId xmlns:a16="http://schemas.microsoft.com/office/drawing/2014/main" id="{B105A91F-6609-4F8A-8B37-7AF65C41766C}"/>
              </a:ext>
            </a:extLst>
          </p:cNvPr>
          <p:cNvSpPr/>
          <p:nvPr/>
        </p:nvSpPr>
        <p:spPr>
          <a:xfrm>
            <a:off x="3681187" y="9566304"/>
            <a:ext cx="2942117" cy="1726959"/>
          </a:xfrm>
          <a:prstGeom prst="foldedCorner">
            <a:avLst/>
          </a:prstGeom>
          <a:solidFill>
            <a:schemeClr val="accent2">
              <a:lumMod val="20000"/>
              <a:lumOff val="80000"/>
            </a:schemeClr>
          </a:solidFill>
          <a:ln w="12700" cap="flat">
            <a:solidFill>
              <a:schemeClr val="accent2">
                <a:lumMod val="75000"/>
              </a:schemeClr>
            </a:solid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algn="ctr" defTabSz="1651021"/>
            <a:r>
              <a:rPr lang="nl-NL" sz="2400">
                <a:latin typeface="Helvetica Neue Medium"/>
                <a:ea typeface="Helvetica Neue Medium"/>
                <a:cs typeface="Helvetica Neue Medium"/>
                <a:sym typeface="Helvetica Neue Medium"/>
              </a:rPr>
              <a:t>Lobby voor koolstofcertificaten</a:t>
            </a:r>
          </a:p>
        </p:txBody>
      </p:sp>
      <p:sp>
        <p:nvSpPr>
          <p:cNvPr id="13" name="Rechthoek: ezelsoor 12">
            <a:extLst>
              <a:ext uri="{FF2B5EF4-FFF2-40B4-BE49-F238E27FC236}">
                <a16:creationId xmlns:a16="http://schemas.microsoft.com/office/drawing/2014/main" id="{A26C4F39-79E4-42E1-A55C-04C28FDDDB3C}"/>
              </a:ext>
            </a:extLst>
          </p:cNvPr>
          <p:cNvSpPr/>
          <p:nvPr/>
        </p:nvSpPr>
        <p:spPr>
          <a:xfrm>
            <a:off x="17194026" y="5446771"/>
            <a:ext cx="2456669" cy="1330266"/>
          </a:xfrm>
          <a:prstGeom prst="foldedCorner">
            <a:avLst/>
          </a:prstGeom>
          <a:solidFill>
            <a:schemeClr val="accent2">
              <a:lumMod val="40000"/>
              <a:lumOff val="60000"/>
            </a:schemeClr>
          </a:solidFill>
          <a:ln w="12700" cap="flat">
            <a:solidFill>
              <a:schemeClr val="accent2">
                <a:lumMod val="75000"/>
              </a:schemeClr>
            </a:solid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algn="ctr" defTabSz="1651021"/>
            <a:r>
              <a:rPr lang="nl-NL" sz="2400">
                <a:latin typeface="Helvetica Neue Medium"/>
                <a:ea typeface="Helvetica Neue Medium"/>
                <a:cs typeface="Helvetica Neue Medium"/>
                <a:sym typeface="Helvetica Neue Medium"/>
              </a:rPr>
              <a:t>Nieuwbouw</a:t>
            </a:r>
          </a:p>
        </p:txBody>
      </p:sp>
      <p:sp>
        <p:nvSpPr>
          <p:cNvPr id="14" name="Rechthoek: ezelsoor 13">
            <a:extLst>
              <a:ext uri="{FF2B5EF4-FFF2-40B4-BE49-F238E27FC236}">
                <a16:creationId xmlns:a16="http://schemas.microsoft.com/office/drawing/2014/main" id="{B79E8EB3-8551-4A26-A2F5-8F4F8C9B6FCE}"/>
              </a:ext>
            </a:extLst>
          </p:cNvPr>
          <p:cNvSpPr/>
          <p:nvPr/>
        </p:nvSpPr>
        <p:spPr>
          <a:xfrm>
            <a:off x="17219962" y="6455437"/>
            <a:ext cx="2456669" cy="1330266"/>
          </a:xfrm>
          <a:prstGeom prst="foldedCorner">
            <a:avLst/>
          </a:prstGeom>
          <a:solidFill>
            <a:schemeClr val="accent2">
              <a:lumMod val="40000"/>
              <a:lumOff val="60000"/>
            </a:schemeClr>
          </a:solidFill>
          <a:ln w="12700" cap="flat">
            <a:solidFill>
              <a:schemeClr val="accent2">
                <a:lumMod val="75000"/>
              </a:schemeClr>
            </a:solid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algn="ctr" defTabSz="1651021"/>
            <a:r>
              <a:rPr lang="nl-NL" sz="2400">
                <a:latin typeface="Helvetica Neue Medium"/>
                <a:ea typeface="Helvetica Neue Medium"/>
                <a:cs typeface="Helvetica Neue Medium"/>
                <a:sym typeface="Helvetica Neue Medium"/>
              </a:rPr>
              <a:t>Verdichting</a:t>
            </a:r>
          </a:p>
        </p:txBody>
      </p:sp>
      <p:sp>
        <p:nvSpPr>
          <p:cNvPr id="15" name="Rechthoek: ezelsoor 14">
            <a:extLst>
              <a:ext uri="{FF2B5EF4-FFF2-40B4-BE49-F238E27FC236}">
                <a16:creationId xmlns:a16="http://schemas.microsoft.com/office/drawing/2014/main" id="{83207ACC-6E97-40EF-B162-885E0DE8CDF4}"/>
              </a:ext>
            </a:extLst>
          </p:cNvPr>
          <p:cNvSpPr/>
          <p:nvPr/>
        </p:nvSpPr>
        <p:spPr>
          <a:xfrm>
            <a:off x="17219962" y="7537355"/>
            <a:ext cx="2456669" cy="2123651"/>
          </a:xfrm>
          <a:prstGeom prst="foldedCorner">
            <a:avLst/>
          </a:prstGeom>
          <a:solidFill>
            <a:schemeClr val="accent2">
              <a:lumMod val="40000"/>
              <a:lumOff val="60000"/>
            </a:schemeClr>
          </a:solidFill>
          <a:ln w="12700" cap="flat">
            <a:solidFill>
              <a:schemeClr val="accent2">
                <a:lumMod val="75000"/>
              </a:schemeClr>
            </a:solid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algn="ctr" defTabSz="1651021"/>
            <a:r>
              <a:rPr lang="nl-NL" sz="2400">
                <a:latin typeface="Helvetica Neue Medium"/>
                <a:ea typeface="Helvetica Neue Medium"/>
                <a:cs typeface="Helvetica Neue Medium"/>
                <a:sym typeface="Helvetica Neue Medium"/>
              </a:rPr>
              <a:t>Verduurzaming bestaande woningen</a:t>
            </a:r>
          </a:p>
        </p:txBody>
      </p:sp>
      <p:sp>
        <p:nvSpPr>
          <p:cNvPr id="17" name="Rechthoek: ezelsoor 16">
            <a:extLst>
              <a:ext uri="{FF2B5EF4-FFF2-40B4-BE49-F238E27FC236}">
                <a16:creationId xmlns:a16="http://schemas.microsoft.com/office/drawing/2014/main" id="{A190E85A-07B4-4743-AD7E-C68E1B39790C}"/>
              </a:ext>
            </a:extLst>
          </p:cNvPr>
          <p:cNvSpPr/>
          <p:nvPr/>
        </p:nvSpPr>
        <p:spPr>
          <a:xfrm>
            <a:off x="5541636" y="5495543"/>
            <a:ext cx="2456669" cy="2123651"/>
          </a:xfrm>
          <a:prstGeom prst="foldedCorner">
            <a:avLst/>
          </a:prstGeom>
          <a:solidFill>
            <a:schemeClr val="accent2"/>
          </a:solidFill>
          <a:ln w="12700" cap="flat">
            <a:solidFill>
              <a:schemeClr val="accent2">
                <a:lumMod val="75000"/>
              </a:schemeClr>
            </a:solid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algn="ctr" defTabSz="1651021"/>
            <a:r>
              <a:rPr lang="nl-NL" sz="2400">
                <a:latin typeface="Helvetica Neue Medium"/>
                <a:ea typeface="Helvetica Neue Medium"/>
                <a:cs typeface="Helvetica Neue Medium"/>
                <a:sym typeface="Helvetica Neue Medium"/>
              </a:rPr>
              <a:t>Restromen (zoals bermgras)</a:t>
            </a:r>
            <a:endParaRPr lang="nl-NL" sz="2400">
              <a:latin typeface="Helvetica Neue Medium"/>
              <a:ea typeface="Helvetica Neue Medium"/>
              <a:cs typeface="Helvetica Neue Medium"/>
            </a:endParaRPr>
          </a:p>
        </p:txBody>
      </p:sp>
      <p:sp>
        <p:nvSpPr>
          <p:cNvPr id="25" name="Rechthoek: ezelsoor 24">
            <a:extLst>
              <a:ext uri="{FF2B5EF4-FFF2-40B4-BE49-F238E27FC236}">
                <a16:creationId xmlns:a16="http://schemas.microsoft.com/office/drawing/2014/main" id="{8B474360-A8CA-4397-A8CE-0C78026B7DBE}"/>
              </a:ext>
            </a:extLst>
          </p:cNvPr>
          <p:cNvSpPr/>
          <p:nvPr/>
        </p:nvSpPr>
        <p:spPr>
          <a:xfrm>
            <a:off x="10985629" y="7760691"/>
            <a:ext cx="2456672" cy="2123651"/>
          </a:xfrm>
          <a:prstGeom prst="foldedCorner">
            <a:avLst/>
          </a:prstGeom>
          <a:solidFill>
            <a:schemeClr val="accent2">
              <a:lumMod val="20000"/>
              <a:lumOff val="80000"/>
            </a:schemeClr>
          </a:solidFill>
          <a:ln w="12700" cap="flat">
            <a:solidFill>
              <a:schemeClr val="accent2">
                <a:lumMod val="75000"/>
              </a:schemeClr>
            </a:solid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algn="ctr" defTabSz="1651021"/>
            <a:r>
              <a:rPr lang="nl-NL" sz="2400">
                <a:latin typeface="Helvetica Neue Medium"/>
                <a:ea typeface="Helvetica Neue Medium"/>
                <a:cs typeface="Helvetica Neue Medium"/>
                <a:sym typeface="Helvetica Neue Medium"/>
              </a:rPr>
              <a:t>Hub voor gezamenlijke verwerking </a:t>
            </a:r>
          </a:p>
        </p:txBody>
      </p:sp>
      <p:sp>
        <p:nvSpPr>
          <p:cNvPr id="26" name="Rechthoek: ezelsoor 25">
            <a:extLst>
              <a:ext uri="{FF2B5EF4-FFF2-40B4-BE49-F238E27FC236}">
                <a16:creationId xmlns:a16="http://schemas.microsoft.com/office/drawing/2014/main" id="{F85ED683-FEED-4890-98E6-E32BD34CB650}"/>
              </a:ext>
            </a:extLst>
          </p:cNvPr>
          <p:cNvSpPr/>
          <p:nvPr/>
        </p:nvSpPr>
        <p:spPr>
          <a:xfrm>
            <a:off x="19650694" y="6879825"/>
            <a:ext cx="2800309" cy="1726959"/>
          </a:xfrm>
          <a:prstGeom prst="foldedCorner">
            <a:avLst/>
          </a:prstGeom>
          <a:solidFill>
            <a:schemeClr val="bg2"/>
          </a:solidFill>
          <a:ln w="12700" cap="flat">
            <a:solidFill>
              <a:schemeClr val="accent2">
                <a:lumMod val="75000"/>
              </a:schemeClr>
            </a:solid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algn="ctr" defTabSz="1651021"/>
            <a:r>
              <a:rPr lang="nl-NL" sz="2400">
                <a:latin typeface="Helvetica Neue Medium"/>
                <a:ea typeface="Helvetica Neue Medium"/>
                <a:cs typeface="Helvetica Neue Medium"/>
                <a:sym typeface="Helvetica Neue Medium"/>
              </a:rPr>
              <a:t>Bundeling vraag woningcorporaties</a:t>
            </a:r>
          </a:p>
        </p:txBody>
      </p:sp>
      <p:sp>
        <p:nvSpPr>
          <p:cNvPr id="29" name="Rechthoek: ezelsoor 28">
            <a:extLst>
              <a:ext uri="{FF2B5EF4-FFF2-40B4-BE49-F238E27FC236}">
                <a16:creationId xmlns:a16="http://schemas.microsoft.com/office/drawing/2014/main" id="{2C147A49-CB44-442F-A244-3510E7250BB0}"/>
              </a:ext>
            </a:extLst>
          </p:cNvPr>
          <p:cNvSpPr/>
          <p:nvPr/>
        </p:nvSpPr>
        <p:spPr>
          <a:xfrm>
            <a:off x="6774507" y="9591381"/>
            <a:ext cx="2942117" cy="1726959"/>
          </a:xfrm>
          <a:prstGeom prst="foldedCorner">
            <a:avLst/>
          </a:prstGeom>
          <a:solidFill>
            <a:schemeClr val="accent2">
              <a:lumMod val="20000"/>
              <a:lumOff val="80000"/>
            </a:schemeClr>
          </a:solidFill>
          <a:ln w="12700" cap="flat">
            <a:solidFill>
              <a:schemeClr val="accent2">
                <a:lumMod val="75000"/>
              </a:schemeClr>
            </a:solid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algn="ctr" defTabSz="1651021"/>
            <a:r>
              <a:rPr lang="nl-NL" sz="2400">
                <a:latin typeface="Helvetica Neue Medium"/>
                <a:ea typeface="Helvetica Neue Medium"/>
                <a:cs typeface="Helvetica Neue Medium"/>
                <a:sym typeface="Helvetica Neue Medium"/>
              </a:rPr>
              <a:t>Beleid op landschapsgronden</a:t>
            </a:r>
          </a:p>
        </p:txBody>
      </p:sp>
      <p:sp>
        <p:nvSpPr>
          <p:cNvPr id="30" name="Rechthoek: ezelsoor 29">
            <a:extLst>
              <a:ext uri="{FF2B5EF4-FFF2-40B4-BE49-F238E27FC236}">
                <a16:creationId xmlns:a16="http://schemas.microsoft.com/office/drawing/2014/main" id="{F3941CA0-ACA8-4C9A-8334-78DEEBE8051E}"/>
              </a:ext>
            </a:extLst>
          </p:cNvPr>
          <p:cNvSpPr/>
          <p:nvPr/>
        </p:nvSpPr>
        <p:spPr>
          <a:xfrm>
            <a:off x="5606292" y="7361231"/>
            <a:ext cx="2456669" cy="2123651"/>
          </a:xfrm>
          <a:prstGeom prst="foldedCorner">
            <a:avLst/>
          </a:prstGeom>
          <a:solidFill>
            <a:srgbClr val="8FD0D0"/>
          </a:solidFill>
          <a:ln w="12700" cap="flat">
            <a:solidFill>
              <a:schemeClr val="accent2">
                <a:lumMod val="75000"/>
              </a:schemeClr>
            </a:solid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algn="ctr" defTabSz="1651021"/>
            <a:r>
              <a:rPr lang="nl-NL" sz="2400">
                <a:latin typeface="Helvetica Neue Medium"/>
                <a:ea typeface="Helvetica Neue Medium"/>
                <a:cs typeface="Helvetica Neue Medium"/>
                <a:sym typeface="Helvetica Neue Medium"/>
              </a:rPr>
              <a:t>Teelten (zoals Lisdodde en Sorghum)</a:t>
            </a:r>
          </a:p>
        </p:txBody>
      </p:sp>
      <p:sp>
        <p:nvSpPr>
          <p:cNvPr id="31" name="Tekstvak 30">
            <a:extLst>
              <a:ext uri="{FF2B5EF4-FFF2-40B4-BE49-F238E27FC236}">
                <a16:creationId xmlns:a16="http://schemas.microsoft.com/office/drawing/2014/main" id="{9A5C573E-E3ED-47A8-A16C-6E6B7F856F15}"/>
              </a:ext>
            </a:extLst>
          </p:cNvPr>
          <p:cNvSpPr txBox="1"/>
          <p:nvPr/>
        </p:nvSpPr>
        <p:spPr>
          <a:xfrm>
            <a:off x="1446547" y="4199453"/>
            <a:ext cx="7075893" cy="551712"/>
          </a:xfrm>
          <a:prstGeom prst="rect">
            <a:avLst/>
          </a:prstGeom>
          <a:ln>
            <a:solidFill>
              <a:schemeClr val="tx1"/>
            </a:solidFill>
          </a:ln>
        </p:spPr>
        <p:txBody>
          <a:bodyPr vert="horz" wrap="square" lIns="182880" tIns="91440" rIns="182880" bIns="91440" rtlCol="0">
            <a:normAutofit/>
          </a:bodyPr>
          <a:lstStyle/>
          <a:p>
            <a:pPr algn="ctr" defTabSz="1828823"/>
            <a:r>
              <a:rPr lang="nl-NL" sz="2400">
                <a:latin typeface="Source Sans Pro"/>
              </a:rPr>
              <a:t>Teelten en continuïteit van stromen</a:t>
            </a:r>
          </a:p>
        </p:txBody>
      </p:sp>
      <p:sp>
        <p:nvSpPr>
          <p:cNvPr id="32" name="Tekstvak 31">
            <a:extLst>
              <a:ext uri="{FF2B5EF4-FFF2-40B4-BE49-F238E27FC236}">
                <a16:creationId xmlns:a16="http://schemas.microsoft.com/office/drawing/2014/main" id="{93139123-F05F-4AA0-B821-F1735F386620}"/>
              </a:ext>
            </a:extLst>
          </p:cNvPr>
          <p:cNvSpPr txBox="1"/>
          <p:nvPr/>
        </p:nvSpPr>
        <p:spPr>
          <a:xfrm>
            <a:off x="9838633" y="4156675"/>
            <a:ext cx="5644952" cy="551712"/>
          </a:xfrm>
          <a:prstGeom prst="rect">
            <a:avLst/>
          </a:prstGeom>
          <a:ln>
            <a:solidFill>
              <a:schemeClr val="tx1"/>
            </a:solidFill>
          </a:ln>
        </p:spPr>
        <p:txBody>
          <a:bodyPr vert="horz" wrap="square" lIns="182880" tIns="91440" rIns="182880" bIns="91440" rtlCol="0">
            <a:normAutofit/>
          </a:bodyPr>
          <a:lstStyle/>
          <a:p>
            <a:pPr algn="ctr" defTabSz="1828823"/>
            <a:r>
              <a:rPr lang="nl-NL" sz="2400">
                <a:latin typeface="Source Sans Pro"/>
              </a:rPr>
              <a:t>Productie en opschaling</a:t>
            </a:r>
          </a:p>
        </p:txBody>
      </p:sp>
      <p:sp>
        <p:nvSpPr>
          <p:cNvPr id="33" name="Tekstvak 32">
            <a:extLst>
              <a:ext uri="{FF2B5EF4-FFF2-40B4-BE49-F238E27FC236}">
                <a16:creationId xmlns:a16="http://schemas.microsoft.com/office/drawing/2014/main" id="{92BDC24D-6BC8-4DEF-99AF-8647E36F9016}"/>
              </a:ext>
            </a:extLst>
          </p:cNvPr>
          <p:cNvSpPr txBox="1"/>
          <p:nvPr/>
        </p:nvSpPr>
        <p:spPr>
          <a:xfrm>
            <a:off x="16864637" y="4156675"/>
            <a:ext cx="6465808" cy="551712"/>
          </a:xfrm>
          <a:prstGeom prst="rect">
            <a:avLst/>
          </a:prstGeom>
          <a:ln>
            <a:solidFill>
              <a:schemeClr val="tx1"/>
            </a:solidFill>
          </a:ln>
        </p:spPr>
        <p:txBody>
          <a:bodyPr vert="horz" wrap="square" lIns="182880" tIns="91440" rIns="182880" bIns="91440" rtlCol="0">
            <a:normAutofit/>
          </a:bodyPr>
          <a:lstStyle/>
          <a:p>
            <a:pPr algn="ctr" defTabSz="1828823"/>
            <a:r>
              <a:rPr lang="nl-NL" sz="2400">
                <a:latin typeface="Source Sans Pro"/>
              </a:rPr>
              <a:t>Vraag en implementatie</a:t>
            </a:r>
          </a:p>
        </p:txBody>
      </p:sp>
      <p:sp>
        <p:nvSpPr>
          <p:cNvPr id="4" name="Pijl: rechts 3">
            <a:extLst>
              <a:ext uri="{FF2B5EF4-FFF2-40B4-BE49-F238E27FC236}">
                <a16:creationId xmlns:a16="http://schemas.microsoft.com/office/drawing/2014/main" id="{C41168A3-7273-BDFE-F391-E47B2DF532F2}"/>
              </a:ext>
            </a:extLst>
          </p:cNvPr>
          <p:cNvSpPr/>
          <p:nvPr/>
        </p:nvSpPr>
        <p:spPr>
          <a:xfrm>
            <a:off x="5308092" y="6301223"/>
            <a:ext cx="6074317" cy="2214236"/>
          </a:xfrm>
          <a:prstGeom prst="rightArrow">
            <a:avLst/>
          </a:prstGeom>
          <a:solidFill>
            <a:schemeClr val="accent2"/>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algn="ctr" defTabSz="1651021"/>
            <a:r>
              <a:rPr lang="nl-NL" sz="2400">
                <a:latin typeface="Helvetica Neue Medium"/>
              </a:rPr>
              <a:t>Multi-vezel oplossingen</a:t>
            </a:r>
            <a:endParaRPr lang="nl-NL" sz="2400">
              <a:latin typeface="Helvetica Neue Medium"/>
              <a:sym typeface="Helvetica Neue Medium"/>
            </a:endParaRPr>
          </a:p>
        </p:txBody>
      </p:sp>
      <p:sp>
        <p:nvSpPr>
          <p:cNvPr id="5" name="Pijl: gebogen 4">
            <a:extLst>
              <a:ext uri="{FF2B5EF4-FFF2-40B4-BE49-F238E27FC236}">
                <a16:creationId xmlns:a16="http://schemas.microsoft.com/office/drawing/2014/main" id="{37417997-7A11-4D0B-B940-6852C3F6323D}"/>
              </a:ext>
            </a:extLst>
          </p:cNvPr>
          <p:cNvSpPr/>
          <p:nvPr/>
        </p:nvSpPr>
        <p:spPr>
          <a:xfrm>
            <a:off x="15396643" y="5653050"/>
            <a:ext cx="1797381" cy="1668662"/>
          </a:xfrm>
          <a:prstGeom prst="bentArrow">
            <a:avLst>
              <a:gd name="adj1" fmla="val 41226"/>
              <a:gd name="adj2" fmla="val 25000"/>
              <a:gd name="adj3" fmla="val 25000"/>
              <a:gd name="adj4" fmla="val 43750"/>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algn="ctr" defTabSz="1651021"/>
            <a:endParaRPr lang="nl-NL" sz="6400">
              <a:solidFill>
                <a:srgbClr val="FFFFFF"/>
              </a:solidFill>
              <a:latin typeface="Helvetica Neue Medium"/>
              <a:ea typeface="Helvetica Neue Medium"/>
              <a:cs typeface="Helvetica Neue Medium"/>
              <a:sym typeface="Helvetica Neue Medium"/>
            </a:endParaRPr>
          </a:p>
        </p:txBody>
      </p:sp>
      <p:sp>
        <p:nvSpPr>
          <p:cNvPr id="35" name="Pijl: gebogen 34">
            <a:extLst>
              <a:ext uri="{FF2B5EF4-FFF2-40B4-BE49-F238E27FC236}">
                <a16:creationId xmlns:a16="http://schemas.microsoft.com/office/drawing/2014/main" id="{63006AA2-49DF-43E7-94A6-84BCF9D2DE36}"/>
              </a:ext>
            </a:extLst>
          </p:cNvPr>
          <p:cNvSpPr/>
          <p:nvPr/>
        </p:nvSpPr>
        <p:spPr>
          <a:xfrm flipV="1">
            <a:off x="15391176" y="6890925"/>
            <a:ext cx="1797381" cy="1668662"/>
          </a:xfrm>
          <a:prstGeom prst="bentArrow">
            <a:avLst>
              <a:gd name="adj1" fmla="val 41226"/>
              <a:gd name="adj2" fmla="val 25000"/>
              <a:gd name="adj3" fmla="val 25000"/>
              <a:gd name="adj4" fmla="val 43750"/>
            </a:avLst>
          </a:prstGeom>
          <a:solidFill>
            <a:schemeClr val="accent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algn="ctr" defTabSz="1651021"/>
            <a:endParaRPr lang="nl-NL" sz="6400">
              <a:solidFill>
                <a:srgbClr val="FFFFFF"/>
              </a:solidFill>
              <a:latin typeface="Helvetica Neue Medium"/>
              <a:ea typeface="Helvetica Neue Medium"/>
              <a:cs typeface="Helvetica Neue Medium"/>
              <a:sym typeface="Helvetica Neue Medium"/>
            </a:endParaRPr>
          </a:p>
        </p:txBody>
      </p:sp>
      <p:sp>
        <p:nvSpPr>
          <p:cNvPr id="8" name="Tekstvak 7">
            <a:extLst>
              <a:ext uri="{FF2B5EF4-FFF2-40B4-BE49-F238E27FC236}">
                <a16:creationId xmlns:a16="http://schemas.microsoft.com/office/drawing/2014/main" id="{0A5CA280-D296-4632-8038-C99883121240}"/>
              </a:ext>
            </a:extLst>
          </p:cNvPr>
          <p:cNvSpPr txBox="1"/>
          <p:nvPr/>
        </p:nvSpPr>
        <p:spPr>
          <a:xfrm>
            <a:off x="15601580" y="5859580"/>
            <a:ext cx="2013357" cy="854888"/>
          </a:xfrm>
          <a:prstGeom prst="rect">
            <a:avLst/>
          </a:prstGeom>
        </p:spPr>
        <p:txBody>
          <a:bodyPr vert="horz" wrap="square" lIns="182880" tIns="91440" rIns="182880" bIns="91440" rtlCol="0">
            <a:normAutofit/>
          </a:bodyPr>
          <a:lstStyle/>
          <a:p>
            <a:pPr defTabSz="1828823"/>
            <a:r>
              <a:rPr lang="en-US" sz="2400" err="1">
                <a:latin typeface="Helvetica Neue Medium"/>
              </a:rPr>
              <a:t>Vraag</a:t>
            </a:r>
            <a:r>
              <a:rPr lang="en-US" sz="2400">
                <a:latin typeface="Helvetica Neue Medium"/>
              </a:rPr>
              <a:t>-</a:t>
            </a:r>
            <a:endParaRPr lang="nl-NL" sz="2400" err="1">
              <a:latin typeface="Helvetica Neue Medium"/>
            </a:endParaRPr>
          </a:p>
        </p:txBody>
      </p:sp>
      <p:sp>
        <p:nvSpPr>
          <p:cNvPr id="36" name="Tekstvak 35">
            <a:extLst>
              <a:ext uri="{FF2B5EF4-FFF2-40B4-BE49-F238E27FC236}">
                <a16:creationId xmlns:a16="http://schemas.microsoft.com/office/drawing/2014/main" id="{F90FBA14-3B46-496E-82CB-3B37B97BCAF8}"/>
              </a:ext>
            </a:extLst>
          </p:cNvPr>
          <p:cNvSpPr txBox="1"/>
          <p:nvPr/>
        </p:nvSpPr>
        <p:spPr>
          <a:xfrm>
            <a:off x="15483586" y="7752921"/>
            <a:ext cx="2013357" cy="854888"/>
          </a:xfrm>
          <a:prstGeom prst="rect">
            <a:avLst/>
          </a:prstGeom>
        </p:spPr>
        <p:txBody>
          <a:bodyPr vert="horz" wrap="square" lIns="182880" tIns="91440" rIns="182880" bIns="91440" rtlCol="0">
            <a:normAutofit/>
          </a:bodyPr>
          <a:lstStyle/>
          <a:p>
            <a:pPr defTabSz="1828823"/>
            <a:r>
              <a:rPr lang="en-US" sz="2400" err="1">
                <a:latin typeface="Helvetica Neue Medium"/>
              </a:rPr>
              <a:t>bundeling</a:t>
            </a:r>
            <a:endParaRPr lang="nl-NL" sz="2400" err="1">
              <a:latin typeface="Helvetica Neue Medium"/>
            </a:endParaRPr>
          </a:p>
        </p:txBody>
      </p:sp>
      <p:sp>
        <p:nvSpPr>
          <p:cNvPr id="10" name="Pijl: omhoog 9">
            <a:extLst>
              <a:ext uri="{FF2B5EF4-FFF2-40B4-BE49-F238E27FC236}">
                <a16:creationId xmlns:a16="http://schemas.microsoft.com/office/drawing/2014/main" id="{9741DABF-ACE1-435A-B612-B9CA301BC147}"/>
              </a:ext>
            </a:extLst>
          </p:cNvPr>
          <p:cNvSpPr/>
          <p:nvPr/>
        </p:nvSpPr>
        <p:spPr>
          <a:xfrm>
            <a:off x="4670957" y="8596450"/>
            <a:ext cx="907936" cy="1894593"/>
          </a:xfrm>
          <a:prstGeom prst="upArrow">
            <a:avLst/>
          </a:prstGeom>
          <a:solidFill>
            <a:schemeClr val="accent2">
              <a:lumMod val="20000"/>
              <a:lumOff val="80000"/>
            </a:schemeClr>
          </a:solidFill>
          <a:ln w="12700" cap="flat">
            <a:solidFill>
              <a:schemeClr val="accent2">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algn="ctr" defTabSz="1651021"/>
            <a:endParaRPr lang="nl-NL" sz="6400">
              <a:solidFill>
                <a:srgbClr val="FFFFFF"/>
              </a:solidFill>
              <a:latin typeface="Helvetica Neue Medium"/>
              <a:ea typeface="Helvetica Neue Medium"/>
              <a:cs typeface="Helvetica Neue Medium"/>
              <a:sym typeface="Helvetica Neue Medium"/>
            </a:endParaRPr>
          </a:p>
        </p:txBody>
      </p:sp>
      <p:sp>
        <p:nvSpPr>
          <p:cNvPr id="37" name="Pijl: omhoog 36">
            <a:extLst>
              <a:ext uri="{FF2B5EF4-FFF2-40B4-BE49-F238E27FC236}">
                <a16:creationId xmlns:a16="http://schemas.microsoft.com/office/drawing/2014/main" id="{2D8B59B2-12BF-4289-9701-83679B2A5794}"/>
              </a:ext>
            </a:extLst>
          </p:cNvPr>
          <p:cNvSpPr/>
          <p:nvPr/>
        </p:nvSpPr>
        <p:spPr>
          <a:xfrm>
            <a:off x="7791597" y="8620104"/>
            <a:ext cx="907936" cy="1894593"/>
          </a:xfrm>
          <a:prstGeom prst="upArrow">
            <a:avLst/>
          </a:prstGeom>
          <a:solidFill>
            <a:schemeClr val="accent2">
              <a:lumMod val="20000"/>
              <a:lumOff val="80000"/>
            </a:schemeClr>
          </a:solidFill>
          <a:ln w="12700" cap="flat">
            <a:solidFill>
              <a:schemeClr val="accent2">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algn="ctr" defTabSz="1651021"/>
            <a:endParaRPr lang="nl-NL" sz="6400">
              <a:solidFill>
                <a:srgbClr val="FFFFFF"/>
              </a:solidFill>
              <a:latin typeface="Helvetica Neue Medium"/>
              <a:ea typeface="Helvetica Neue Medium"/>
              <a:cs typeface="Helvetica Neue Medium"/>
              <a:sym typeface="Helvetica Neue Medium"/>
            </a:endParaRPr>
          </a:p>
        </p:txBody>
      </p:sp>
      <p:sp>
        <p:nvSpPr>
          <p:cNvPr id="38" name="Rechthoek: ezelsoor 37">
            <a:extLst>
              <a:ext uri="{FF2B5EF4-FFF2-40B4-BE49-F238E27FC236}">
                <a16:creationId xmlns:a16="http://schemas.microsoft.com/office/drawing/2014/main" id="{E90734A0-89BF-4B7F-99F6-12141053CD24}"/>
              </a:ext>
            </a:extLst>
          </p:cNvPr>
          <p:cNvSpPr/>
          <p:nvPr/>
        </p:nvSpPr>
        <p:spPr>
          <a:xfrm>
            <a:off x="14780766" y="9540153"/>
            <a:ext cx="2942117" cy="1726959"/>
          </a:xfrm>
          <a:prstGeom prst="foldedCorner">
            <a:avLst/>
          </a:prstGeom>
          <a:solidFill>
            <a:schemeClr val="accent2">
              <a:lumMod val="20000"/>
              <a:lumOff val="80000"/>
            </a:schemeClr>
          </a:solidFill>
          <a:ln w="12700" cap="flat">
            <a:solidFill>
              <a:schemeClr val="accent2">
                <a:lumMod val="75000"/>
              </a:schemeClr>
            </a:solid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algn="ctr" defTabSz="1651021"/>
            <a:r>
              <a:rPr lang="nl-NL" sz="2400">
                <a:latin typeface="Helvetica Neue Medium"/>
                <a:ea typeface="Helvetica Neue Medium"/>
                <a:cs typeface="Helvetica Neue Medium"/>
                <a:sym typeface="Helvetica Neue Medium"/>
              </a:rPr>
              <a:t>Ketenregisseur / biobased marinier</a:t>
            </a:r>
          </a:p>
        </p:txBody>
      </p:sp>
      <p:sp>
        <p:nvSpPr>
          <p:cNvPr id="39" name="Pijl: omhoog 38">
            <a:extLst>
              <a:ext uri="{FF2B5EF4-FFF2-40B4-BE49-F238E27FC236}">
                <a16:creationId xmlns:a16="http://schemas.microsoft.com/office/drawing/2014/main" id="{5EB34F15-790E-40CB-96BD-4AFDF9735B8B}"/>
              </a:ext>
            </a:extLst>
          </p:cNvPr>
          <p:cNvSpPr/>
          <p:nvPr/>
        </p:nvSpPr>
        <p:spPr>
          <a:xfrm>
            <a:off x="15797856" y="8568874"/>
            <a:ext cx="907936" cy="1894593"/>
          </a:xfrm>
          <a:prstGeom prst="upArrow">
            <a:avLst/>
          </a:prstGeom>
          <a:solidFill>
            <a:schemeClr val="accent2">
              <a:lumMod val="20000"/>
              <a:lumOff val="80000"/>
            </a:schemeClr>
          </a:solidFill>
          <a:ln w="12700" cap="flat">
            <a:solidFill>
              <a:schemeClr val="accent2">
                <a:lumMod val="7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algn="ctr" defTabSz="1651021"/>
            <a:endParaRPr lang="nl-NL" sz="6400">
              <a:solidFill>
                <a:srgbClr val="FFFFFF"/>
              </a:solidFill>
              <a:latin typeface="Helvetica Neue Medium"/>
              <a:ea typeface="Helvetica Neue Medium"/>
              <a:cs typeface="Helvetica Neue Medium"/>
              <a:sym typeface="Helvetica Neue Medium"/>
            </a:endParaRPr>
          </a:p>
        </p:txBody>
      </p:sp>
      <p:sp>
        <p:nvSpPr>
          <p:cNvPr id="51" name="Rechthoek: ezelsoor 50">
            <a:extLst>
              <a:ext uri="{FF2B5EF4-FFF2-40B4-BE49-F238E27FC236}">
                <a16:creationId xmlns:a16="http://schemas.microsoft.com/office/drawing/2014/main" id="{31B91C90-A043-4BF9-B268-71095915F65E}"/>
              </a:ext>
            </a:extLst>
          </p:cNvPr>
          <p:cNvSpPr/>
          <p:nvPr/>
        </p:nvSpPr>
        <p:spPr>
          <a:xfrm>
            <a:off x="2911886" y="6137282"/>
            <a:ext cx="2366165" cy="2499920"/>
          </a:xfrm>
          <a:prstGeom prst="foldedCorner">
            <a:avLst/>
          </a:prstGeom>
          <a:solidFill>
            <a:schemeClr val="accent2">
              <a:lumMod val="40000"/>
              <a:lumOff val="60000"/>
            </a:schemeClr>
          </a:solidFill>
          <a:ln w="12700" cap="flat">
            <a:solidFill>
              <a:schemeClr val="accent2">
                <a:lumMod val="75000"/>
              </a:schemeClr>
            </a:solid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algn="ctr" defTabSz="1651021"/>
            <a:r>
              <a:rPr lang="nl-NL" sz="2400">
                <a:latin typeface="Helvetica Neue Medium"/>
                <a:ea typeface="Helvetica Neue Medium"/>
                <a:cs typeface="Helvetica Neue Medium"/>
                <a:sym typeface="Helvetica Neue Medium"/>
              </a:rPr>
              <a:t>Onderzoek continuïteit teelten en stromen</a:t>
            </a:r>
          </a:p>
        </p:txBody>
      </p:sp>
      <p:sp>
        <p:nvSpPr>
          <p:cNvPr id="53" name="Rechthoek: ezelsoor 52">
            <a:extLst>
              <a:ext uri="{FF2B5EF4-FFF2-40B4-BE49-F238E27FC236}">
                <a16:creationId xmlns:a16="http://schemas.microsoft.com/office/drawing/2014/main" id="{1CE5E453-7798-40A7-8AC2-8CA12241C322}"/>
              </a:ext>
            </a:extLst>
          </p:cNvPr>
          <p:cNvSpPr/>
          <p:nvPr/>
        </p:nvSpPr>
        <p:spPr>
          <a:xfrm>
            <a:off x="10525652" y="4742339"/>
            <a:ext cx="5833304" cy="1330266"/>
          </a:xfrm>
          <a:prstGeom prst="foldedCorner">
            <a:avLst/>
          </a:prstGeom>
          <a:solidFill>
            <a:schemeClr val="accent2">
              <a:lumMod val="60000"/>
              <a:lumOff val="40000"/>
            </a:schemeClr>
          </a:solidFill>
          <a:ln w="12700" cap="flat">
            <a:solidFill>
              <a:schemeClr val="accent2">
                <a:lumMod val="75000"/>
              </a:schemeClr>
            </a:solid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algn="ctr" defTabSz="1651021"/>
            <a:r>
              <a:rPr lang="nl-NL" sz="2400">
                <a:latin typeface="Helvetica Neue Medium"/>
                <a:ea typeface="Helvetica Neue Medium"/>
                <a:cs typeface="Helvetica Neue Medium"/>
                <a:sym typeface="Helvetica Neue Medium"/>
              </a:rPr>
              <a:t>Onderzoek haalbaarheid toeleveranciers</a:t>
            </a:r>
          </a:p>
        </p:txBody>
      </p:sp>
      <p:sp>
        <p:nvSpPr>
          <p:cNvPr id="44" name="Pijl: rechts 43">
            <a:extLst>
              <a:ext uri="{FF2B5EF4-FFF2-40B4-BE49-F238E27FC236}">
                <a16:creationId xmlns:a16="http://schemas.microsoft.com/office/drawing/2014/main" id="{1941BBE4-869C-4F27-B124-C77FD5CDE6F9}"/>
              </a:ext>
            </a:extLst>
          </p:cNvPr>
          <p:cNvSpPr/>
          <p:nvPr/>
        </p:nvSpPr>
        <p:spPr>
          <a:xfrm>
            <a:off x="922415" y="10395824"/>
            <a:ext cx="22767581" cy="2159211"/>
          </a:xfrm>
          <a:prstGeom prst="rightArrow">
            <a:avLst/>
          </a:prstGeom>
          <a:solidFill>
            <a:schemeClr val="accent2"/>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defTabSz="1651021">
              <a:tabLst>
                <a:tab pos="7902675" algn="l"/>
              </a:tabLst>
            </a:pPr>
            <a:r>
              <a:rPr lang="nl-NL" sz="2200">
                <a:latin typeface="Helvetica Neue Medium"/>
                <a:ea typeface="Helvetica Neue Medium"/>
                <a:cs typeface="Helvetica Neue Medium"/>
                <a:sym typeface="Helvetica Neue Medium"/>
              </a:rPr>
              <a:t>	Kennisuitwisseling (voor systeemdoorbraken)</a:t>
            </a:r>
          </a:p>
        </p:txBody>
      </p:sp>
      <p:sp>
        <p:nvSpPr>
          <p:cNvPr id="45" name="Rechthoek: ezelsoor 44">
            <a:extLst>
              <a:ext uri="{FF2B5EF4-FFF2-40B4-BE49-F238E27FC236}">
                <a16:creationId xmlns:a16="http://schemas.microsoft.com/office/drawing/2014/main" id="{40D98E17-2DB7-4A4A-BD57-C50BAE2BB87E}"/>
              </a:ext>
            </a:extLst>
          </p:cNvPr>
          <p:cNvSpPr/>
          <p:nvPr/>
        </p:nvSpPr>
        <p:spPr>
          <a:xfrm>
            <a:off x="2049832" y="11395510"/>
            <a:ext cx="2119499" cy="1726959"/>
          </a:xfrm>
          <a:prstGeom prst="foldedCorner">
            <a:avLst/>
          </a:prstGeom>
          <a:solidFill>
            <a:schemeClr val="accent2">
              <a:lumMod val="20000"/>
              <a:lumOff val="80000"/>
            </a:schemeClr>
          </a:solidFill>
          <a:ln w="28575" cap="flat">
            <a:solidFill>
              <a:schemeClr val="accent2">
                <a:lumMod val="75000"/>
              </a:schemeClr>
            </a:solidFill>
            <a:prstDash val="sysDot"/>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algn="ctr" defTabSz="1651021"/>
            <a:r>
              <a:rPr lang="nl-NL" sz="2400">
                <a:latin typeface="Helvetica Neue Medium"/>
                <a:ea typeface="Helvetica Neue Medium"/>
                <a:cs typeface="Helvetica Neue Medium"/>
                <a:sym typeface="Helvetica Neue Medium"/>
              </a:rPr>
              <a:t>VORM teelt polyculturen</a:t>
            </a:r>
          </a:p>
        </p:txBody>
      </p:sp>
      <p:sp>
        <p:nvSpPr>
          <p:cNvPr id="46" name="Rechthoek: ezelsoor 45">
            <a:extLst>
              <a:ext uri="{FF2B5EF4-FFF2-40B4-BE49-F238E27FC236}">
                <a16:creationId xmlns:a16="http://schemas.microsoft.com/office/drawing/2014/main" id="{04B523EA-5D46-434C-9E14-93525A066858}"/>
              </a:ext>
            </a:extLst>
          </p:cNvPr>
          <p:cNvSpPr/>
          <p:nvPr/>
        </p:nvSpPr>
        <p:spPr>
          <a:xfrm>
            <a:off x="19741116" y="11312331"/>
            <a:ext cx="3143949" cy="1330266"/>
          </a:xfrm>
          <a:prstGeom prst="foldedCorner">
            <a:avLst/>
          </a:prstGeom>
          <a:solidFill>
            <a:schemeClr val="accent2">
              <a:lumMod val="20000"/>
              <a:lumOff val="80000"/>
            </a:schemeClr>
          </a:solidFill>
          <a:ln w="28575" cap="flat">
            <a:solidFill>
              <a:schemeClr val="accent2">
                <a:lumMod val="75000"/>
              </a:schemeClr>
            </a:solidFill>
            <a:prstDash val="sysDot"/>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algn="ctr" defTabSz="1651021"/>
            <a:r>
              <a:rPr lang="nl-NL" sz="2400">
                <a:latin typeface="Helvetica Neue Medium"/>
                <a:ea typeface="Helvetica Neue Medium"/>
                <a:cs typeface="Helvetica Neue Medium"/>
                <a:sym typeface="Helvetica Neue Medium"/>
              </a:rPr>
              <a:t>…</a:t>
            </a:r>
          </a:p>
        </p:txBody>
      </p:sp>
      <p:sp>
        <p:nvSpPr>
          <p:cNvPr id="47" name="Rechthoek: ezelsoor 46">
            <a:extLst>
              <a:ext uri="{FF2B5EF4-FFF2-40B4-BE49-F238E27FC236}">
                <a16:creationId xmlns:a16="http://schemas.microsoft.com/office/drawing/2014/main" id="{4552819F-E861-422C-9F25-4BEE09425A7E}"/>
              </a:ext>
            </a:extLst>
          </p:cNvPr>
          <p:cNvSpPr/>
          <p:nvPr/>
        </p:nvSpPr>
        <p:spPr>
          <a:xfrm>
            <a:off x="4935386" y="11395510"/>
            <a:ext cx="2456669" cy="1726959"/>
          </a:xfrm>
          <a:prstGeom prst="foldedCorner">
            <a:avLst/>
          </a:prstGeom>
          <a:solidFill>
            <a:schemeClr val="accent2">
              <a:lumMod val="20000"/>
              <a:lumOff val="80000"/>
            </a:schemeClr>
          </a:solidFill>
          <a:ln w="28575" cap="flat">
            <a:solidFill>
              <a:schemeClr val="accent2">
                <a:lumMod val="75000"/>
              </a:schemeClr>
            </a:solidFill>
            <a:prstDash val="sysDot"/>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algn="ctr" defTabSz="1651021"/>
            <a:r>
              <a:rPr lang="nl-NL" sz="2400">
                <a:latin typeface="Helvetica Neue Medium"/>
                <a:ea typeface="Helvetica Neue Medium"/>
                <a:cs typeface="Helvetica Neue Medium"/>
                <a:sym typeface="Helvetica Neue Medium"/>
              </a:rPr>
              <a:t>Regeneratieve </a:t>
            </a:r>
            <a:r>
              <a:rPr lang="nl-NL" sz="2400" err="1">
                <a:latin typeface="Helvetica Neue Medium"/>
                <a:ea typeface="Helvetica Neue Medium"/>
                <a:cs typeface="Helvetica Neue Medium"/>
                <a:sym typeface="Helvetica Neue Medium"/>
              </a:rPr>
              <a:t>dome</a:t>
            </a:r>
            <a:r>
              <a:rPr lang="nl-NL" sz="2400">
                <a:latin typeface="Helvetica Neue Medium"/>
                <a:ea typeface="Helvetica Neue Medium"/>
                <a:cs typeface="Helvetica Neue Medium"/>
                <a:sym typeface="Helvetica Neue Medium"/>
              </a:rPr>
              <a:t> Blue </a:t>
            </a:r>
            <a:r>
              <a:rPr lang="nl-NL" sz="2400" err="1">
                <a:latin typeface="Helvetica Neue Medium"/>
                <a:ea typeface="Helvetica Neue Medium"/>
                <a:cs typeface="Helvetica Neue Medium"/>
                <a:sym typeface="Helvetica Neue Medium"/>
              </a:rPr>
              <a:t>city</a:t>
            </a:r>
            <a:endParaRPr lang="nl-NL" sz="2400">
              <a:latin typeface="Helvetica Neue Medium"/>
              <a:ea typeface="Helvetica Neue Medium"/>
              <a:cs typeface="Helvetica Neue Medium"/>
              <a:sym typeface="Helvetica Neue Medium"/>
            </a:endParaRPr>
          </a:p>
        </p:txBody>
      </p:sp>
      <p:sp>
        <p:nvSpPr>
          <p:cNvPr id="48" name="Rechthoek: ezelsoor 47">
            <a:extLst>
              <a:ext uri="{FF2B5EF4-FFF2-40B4-BE49-F238E27FC236}">
                <a16:creationId xmlns:a16="http://schemas.microsoft.com/office/drawing/2014/main" id="{5B3A3FB9-0468-44C2-85C2-0286F9766166}"/>
              </a:ext>
            </a:extLst>
          </p:cNvPr>
          <p:cNvSpPr/>
          <p:nvPr/>
        </p:nvSpPr>
        <p:spPr>
          <a:xfrm>
            <a:off x="8158107" y="11395509"/>
            <a:ext cx="2996949" cy="1726959"/>
          </a:xfrm>
          <a:prstGeom prst="foldedCorner">
            <a:avLst/>
          </a:prstGeom>
          <a:solidFill>
            <a:schemeClr val="accent2">
              <a:lumMod val="20000"/>
              <a:lumOff val="80000"/>
            </a:schemeClr>
          </a:solidFill>
          <a:ln w="28575" cap="flat">
            <a:solidFill>
              <a:schemeClr val="accent2">
                <a:lumMod val="75000"/>
              </a:schemeClr>
            </a:solidFill>
            <a:prstDash val="sysDot"/>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algn="ctr" defTabSz="1651021"/>
            <a:r>
              <a:rPr lang="nl-NL" sz="2400">
                <a:latin typeface="Helvetica Neue Medium"/>
                <a:ea typeface="Helvetica Neue Medium"/>
                <a:cs typeface="Helvetica Neue Medium"/>
                <a:sym typeface="Helvetica Neue Medium"/>
              </a:rPr>
              <a:t>Biobased kenniscentrum VINK</a:t>
            </a:r>
          </a:p>
        </p:txBody>
      </p:sp>
      <p:sp>
        <p:nvSpPr>
          <p:cNvPr id="49" name="Rechthoek: ezelsoor 48">
            <a:extLst>
              <a:ext uri="{FF2B5EF4-FFF2-40B4-BE49-F238E27FC236}">
                <a16:creationId xmlns:a16="http://schemas.microsoft.com/office/drawing/2014/main" id="{12837AF4-A70C-4F76-910F-6B7B2C4A24AB}"/>
              </a:ext>
            </a:extLst>
          </p:cNvPr>
          <p:cNvSpPr/>
          <p:nvPr/>
        </p:nvSpPr>
        <p:spPr>
          <a:xfrm>
            <a:off x="15831111" y="11395513"/>
            <a:ext cx="3143949" cy="1726959"/>
          </a:xfrm>
          <a:prstGeom prst="foldedCorner">
            <a:avLst/>
          </a:prstGeom>
          <a:solidFill>
            <a:schemeClr val="accent2">
              <a:lumMod val="20000"/>
              <a:lumOff val="80000"/>
            </a:schemeClr>
          </a:solidFill>
          <a:ln w="28575" cap="flat">
            <a:solidFill>
              <a:schemeClr val="accent2">
                <a:lumMod val="75000"/>
              </a:schemeClr>
            </a:solidFill>
            <a:prstDash val="sysDot"/>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algn="ctr" defTabSz="1651021"/>
            <a:r>
              <a:rPr lang="nl-NL" sz="2400" err="1">
                <a:latin typeface="Helvetica Neue Medium"/>
                <a:ea typeface="Helvetica Neue Medium"/>
                <a:cs typeface="Helvetica Neue Medium"/>
                <a:sym typeface="Helvetica Neue Medium"/>
              </a:rPr>
              <a:t>GreenVillage</a:t>
            </a:r>
            <a:r>
              <a:rPr lang="nl-NL" sz="2400">
                <a:latin typeface="Helvetica Neue Medium"/>
                <a:ea typeface="Helvetica Neue Medium"/>
                <a:cs typeface="Helvetica Neue Medium"/>
                <a:sym typeface="Helvetica Neue Medium"/>
              </a:rPr>
              <a:t> / Living Lab Havenfront </a:t>
            </a:r>
          </a:p>
        </p:txBody>
      </p:sp>
      <p:sp>
        <p:nvSpPr>
          <p:cNvPr id="60" name="Rechthoek: ezelsoor 59">
            <a:extLst>
              <a:ext uri="{FF2B5EF4-FFF2-40B4-BE49-F238E27FC236}">
                <a16:creationId xmlns:a16="http://schemas.microsoft.com/office/drawing/2014/main" id="{01A81E17-5F12-442A-B572-73B036FB374B}"/>
              </a:ext>
            </a:extLst>
          </p:cNvPr>
          <p:cNvSpPr/>
          <p:nvPr/>
        </p:nvSpPr>
        <p:spPr>
          <a:xfrm>
            <a:off x="11921108" y="11391523"/>
            <a:ext cx="3143949" cy="1726959"/>
          </a:xfrm>
          <a:prstGeom prst="foldedCorner">
            <a:avLst/>
          </a:prstGeom>
          <a:solidFill>
            <a:schemeClr val="accent2">
              <a:lumMod val="20000"/>
              <a:lumOff val="80000"/>
            </a:schemeClr>
          </a:solidFill>
          <a:ln w="28575" cap="flat">
            <a:solidFill>
              <a:schemeClr val="accent2">
                <a:lumMod val="75000"/>
              </a:schemeClr>
            </a:solidFill>
            <a:prstDash val="sysDot"/>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01600" tIns="101600" rIns="101600" bIns="101600" numCol="1" spcCol="38100" rtlCol="0" anchor="ctr">
            <a:spAutoFit/>
          </a:bodyPr>
          <a:lstStyle/>
          <a:p>
            <a:pPr algn="ctr" defTabSz="1651021"/>
            <a:r>
              <a:rPr lang="nl-NL" sz="2400">
                <a:latin typeface="Helvetica Neue Medium"/>
                <a:ea typeface="Helvetica Neue Medium"/>
                <a:cs typeface="Helvetica Neue Medium"/>
                <a:sym typeface="Helvetica Neue Medium"/>
              </a:rPr>
              <a:t>Biobased scholen BOOR</a:t>
            </a:r>
          </a:p>
        </p:txBody>
      </p:sp>
      <p:sp>
        <p:nvSpPr>
          <p:cNvPr id="6" name="Titel 5">
            <a:extLst>
              <a:ext uri="{FF2B5EF4-FFF2-40B4-BE49-F238E27FC236}">
                <a16:creationId xmlns:a16="http://schemas.microsoft.com/office/drawing/2014/main" id="{FFE0635C-7943-EFD8-0445-75BF9E94EAEE}"/>
              </a:ext>
            </a:extLst>
          </p:cNvPr>
          <p:cNvSpPr>
            <a:spLocks noGrp="1"/>
          </p:cNvSpPr>
          <p:nvPr>
            <p:ph type="title"/>
          </p:nvPr>
        </p:nvSpPr>
        <p:spPr/>
        <p:txBody>
          <a:bodyPr/>
          <a:lstStyle/>
          <a:p>
            <a:r>
              <a:rPr lang="nl-NL"/>
              <a:t>Resultaat van netwerk bijeenkomst 21 maart 2022</a:t>
            </a:r>
          </a:p>
        </p:txBody>
      </p:sp>
    </p:spTree>
    <p:extLst>
      <p:ext uri="{BB962C8B-B14F-4D97-AF65-F5344CB8AC3E}">
        <p14:creationId xmlns:p14="http://schemas.microsoft.com/office/powerpoint/2010/main" val="4078599974"/>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Afbeelding 9" descr="Dwarsdoorsnede van een boom jaarringen">
            <a:extLst>
              <a:ext uri="{FF2B5EF4-FFF2-40B4-BE49-F238E27FC236}">
                <a16:creationId xmlns:a16="http://schemas.microsoft.com/office/drawing/2014/main" id="{A199EC6C-FA9C-E222-2206-07B19D3251C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638687" y="5802481"/>
            <a:ext cx="6520437" cy="4345897"/>
          </a:xfrm>
          <a:prstGeom prst="rect">
            <a:avLst/>
          </a:prstGeom>
        </p:spPr>
      </p:pic>
      <p:sp>
        <p:nvSpPr>
          <p:cNvPr id="2" name="Titel 1">
            <a:extLst>
              <a:ext uri="{FF2B5EF4-FFF2-40B4-BE49-F238E27FC236}">
                <a16:creationId xmlns:a16="http://schemas.microsoft.com/office/drawing/2014/main" id="{5CB7C133-2021-3139-9210-338A149D91E9}"/>
              </a:ext>
            </a:extLst>
          </p:cNvPr>
          <p:cNvSpPr>
            <a:spLocks noGrp="1"/>
          </p:cNvSpPr>
          <p:nvPr>
            <p:ph type="title"/>
          </p:nvPr>
        </p:nvSpPr>
        <p:spPr/>
        <p:txBody>
          <a:bodyPr/>
          <a:lstStyle/>
          <a:p>
            <a:r>
              <a:rPr lang="nl-NL"/>
              <a:t>Deelsessies doorbraakprojecten</a:t>
            </a:r>
          </a:p>
        </p:txBody>
      </p:sp>
      <p:sp>
        <p:nvSpPr>
          <p:cNvPr id="3" name="Tijdelijke aanduiding voor dianummer 2">
            <a:extLst>
              <a:ext uri="{FF2B5EF4-FFF2-40B4-BE49-F238E27FC236}">
                <a16:creationId xmlns:a16="http://schemas.microsoft.com/office/drawing/2014/main" id="{0CA8DB52-E778-D36E-3301-66870FBF0DEB}"/>
              </a:ext>
            </a:extLst>
          </p:cNvPr>
          <p:cNvSpPr>
            <a:spLocks noGrp="1"/>
          </p:cNvSpPr>
          <p:nvPr>
            <p:ph type="sldNum" sz="quarter" idx="10"/>
          </p:nvPr>
        </p:nvSpPr>
        <p:spPr/>
        <p:txBody>
          <a:bodyPr/>
          <a:lstStyle/>
          <a:p>
            <a:fld id="{86CB4B4D-7CA3-9044-876B-883B54F8677D}" type="slidenum">
              <a:rPr lang="nl-NL">
                <a:solidFill>
                  <a:srgbClr val="000000"/>
                </a:solidFill>
                <a:latin typeface="Source Sans Pro"/>
              </a:rPr>
              <a:pPr/>
              <a:t>26</a:t>
            </a:fld>
            <a:endParaRPr lang="nl-NL">
              <a:solidFill>
                <a:srgbClr val="000000"/>
              </a:solidFill>
              <a:latin typeface="Source Sans Pro"/>
            </a:endParaRPr>
          </a:p>
        </p:txBody>
      </p:sp>
      <p:sp>
        <p:nvSpPr>
          <p:cNvPr id="6" name="Tijdelijke aanduiding voor tekst 5">
            <a:extLst>
              <a:ext uri="{FF2B5EF4-FFF2-40B4-BE49-F238E27FC236}">
                <a16:creationId xmlns:a16="http://schemas.microsoft.com/office/drawing/2014/main" id="{98409D12-6317-6C1A-C228-2F5C5B69B67B}"/>
              </a:ext>
            </a:extLst>
          </p:cNvPr>
          <p:cNvSpPr>
            <a:spLocks noGrp="1"/>
          </p:cNvSpPr>
          <p:nvPr>
            <p:ph type="body" sz="quarter" idx="15"/>
          </p:nvPr>
        </p:nvSpPr>
        <p:spPr/>
        <p:txBody>
          <a:bodyPr/>
          <a:lstStyle/>
          <a:p>
            <a:endParaRPr lang="nl-NL"/>
          </a:p>
        </p:txBody>
      </p:sp>
      <p:sp>
        <p:nvSpPr>
          <p:cNvPr id="7" name="Tijdelijke aanduiding voor datum 6">
            <a:extLst>
              <a:ext uri="{FF2B5EF4-FFF2-40B4-BE49-F238E27FC236}">
                <a16:creationId xmlns:a16="http://schemas.microsoft.com/office/drawing/2014/main" id="{C700F27A-1A09-49FA-E03C-6B2EA15B17B6}"/>
              </a:ext>
            </a:extLst>
          </p:cNvPr>
          <p:cNvSpPr>
            <a:spLocks noGrp="1"/>
          </p:cNvSpPr>
          <p:nvPr>
            <p:ph type="dt" sz="half" idx="2"/>
          </p:nvPr>
        </p:nvSpPr>
        <p:spPr/>
        <p:txBody>
          <a:bodyPr/>
          <a:lstStyle/>
          <a:p>
            <a:pPr defTabSz="1828823"/>
            <a:fld id="{50C58389-12C7-4701-A74A-FE921C2C3097}" type="datetime4">
              <a:rPr lang="nl-NL">
                <a:solidFill>
                  <a:srgbClr val="000000"/>
                </a:solidFill>
                <a:latin typeface="Source Sans Pro"/>
              </a:rPr>
              <a:pPr defTabSz="1828823"/>
              <a:t>13 juni 2023</a:t>
            </a:fld>
            <a:endParaRPr lang="nl-NL">
              <a:solidFill>
                <a:srgbClr val="000000"/>
              </a:solidFill>
              <a:latin typeface="Source Sans Pro"/>
            </a:endParaRPr>
          </a:p>
        </p:txBody>
      </p:sp>
      <p:pic>
        <p:nvPicPr>
          <p:cNvPr id="1028" name="Picture 4">
            <a:extLst>
              <a:ext uri="{FF2B5EF4-FFF2-40B4-BE49-F238E27FC236}">
                <a16:creationId xmlns:a16="http://schemas.microsoft.com/office/drawing/2014/main" id="{87A8B166-7B5F-721E-6C0F-38EDD9CE4B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78335" y="5875633"/>
            <a:ext cx="6520440" cy="432522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AIYMES biobased plaatmateriaal met vezels">
            <a:extLst>
              <a:ext uri="{FF2B5EF4-FFF2-40B4-BE49-F238E27FC236}">
                <a16:creationId xmlns:a16="http://schemas.microsoft.com/office/drawing/2014/main" id="{65897AB4-6600-CC6F-835E-54BA600063B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33667"/>
          <a:stretch/>
        </p:blipFill>
        <p:spPr bwMode="auto">
          <a:xfrm>
            <a:off x="1712659" y="5875633"/>
            <a:ext cx="6520437" cy="4325224"/>
          </a:xfrm>
          <a:prstGeom prst="rect">
            <a:avLst/>
          </a:prstGeom>
          <a:noFill/>
          <a:extLst>
            <a:ext uri="{909E8E84-426E-40DD-AFC4-6F175D3DCCD1}">
              <a14:hiddenFill xmlns:a14="http://schemas.microsoft.com/office/drawing/2010/main">
                <a:solidFill>
                  <a:srgbClr val="FFFFFF"/>
                </a:solidFill>
              </a14:hiddenFill>
            </a:ext>
          </a:extLst>
        </p:spPr>
      </p:pic>
      <p:sp>
        <p:nvSpPr>
          <p:cNvPr id="4" name="Rechthoek 3">
            <a:extLst>
              <a:ext uri="{FF2B5EF4-FFF2-40B4-BE49-F238E27FC236}">
                <a16:creationId xmlns:a16="http://schemas.microsoft.com/office/drawing/2014/main" id="{C42AE657-7445-34F4-0E72-8BD08183F2A3}"/>
              </a:ext>
            </a:extLst>
          </p:cNvPr>
          <p:cNvSpPr/>
          <p:nvPr/>
        </p:nvSpPr>
        <p:spPr>
          <a:xfrm>
            <a:off x="1712659" y="7239844"/>
            <a:ext cx="6520437" cy="1586696"/>
          </a:xfrm>
          <a:prstGeom prst="rect">
            <a:avLst/>
          </a:prstGeom>
          <a:solidFill>
            <a:schemeClr val="bg1">
              <a:alpha val="5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35467" tIns="135467" rIns="135467" bIns="135467" numCol="1" spcCol="38100" rtlCol="0" anchor="ctr">
            <a:spAutoFit/>
          </a:bodyPr>
          <a:lstStyle/>
          <a:p>
            <a:pPr algn="ctr" defTabSz="2201361">
              <a:lnSpc>
                <a:spcPct val="100000"/>
              </a:lnSpc>
              <a:spcBef>
                <a:spcPts val="0"/>
              </a:spcBef>
            </a:pPr>
            <a:endParaRPr lang="nl-NL" sz="8533">
              <a:solidFill>
                <a:srgbClr val="FFFFFF"/>
              </a:solidFill>
              <a:latin typeface="Helvetica Neue Medium"/>
              <a:ea typeface="Helvetica Neue Medium"/>
              <a:cs typeface="Helvetica Neue Medium"/>
              <a:sym typeface="Helvetica Neue Medium"/>
            </a:endParaRPr>
          </a:p>
        </p:txBody>
      </p:sp>
      <p:sp>
        <p:nvSpPr>
          <p:cNvPr id="5" name="Rechthoek 4">
            <a:extLst>
              <a:ext uri="{FF2B5EF4-FFF2-40B4-BE49-F238E27FC236}">
                <a16:creationId xmlns:a16="http://schemas.microsoft.com/office/drawing/2014/main" id="{3B89E5AD-5077-7900-F2DC-31DFAF71FDE9}"/>
              </a:ext>
            </a:extLst>
          </p:cNvPr>
          <p:cNvSpPr/>
          <p:nvPr/>
        </p:nvSpPr>
        <p:spPr>
          <a:xfrm>
            <a:off x="9199091" y="7239844"/>
            <a:ext cx="6520437" cy="1586696"/>
          </a:xfrm>
          <a:prstGeom prst="rect">
            <a:avLst/>
          </a:prstGeom>
          <a:solidFill>
            <a:schemeClr val="bg1">
              <a:alpha val="5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35467" tIns="135467" rIns="135467" bIns="135467" numCol="1" spcCol="38100" rtlCol="0" anchor="ctr">
            <a:spAutoFit/>
          </a:bodyPr>
          <a:lstStyle/>
          <a:p>
            <a:pPr algn="ctr" defTabSz="2201361">
              <a:lnSpc>
                <a:spcPct val="100000"/>
              </a:lnSpc>
              <a:spcBef>
                <a:spcPts val="0"/>
              </a:spcBef>
            </a:pPr>
            <a:endParaRPr lang="nl-NL" sz="8533">
              <a:solidFill>
                <a:srgbClr val="FFFFFF"/>
              </a:solidFill>
              <a:latin typeface="Helvetica Neue Medium"/>
              <a:ea typeface="Helvetica Neue Medium"/>
              <a:cs typeface="Helvetica Neue Medium"/>
              <a:sym typeface="Helvetica Neue Medium"/>
            </a:endParaRPr>
          </a:p>
        </p:txBody>
      </p:sp>
      <p:sp>
        <p:nvSpPr>
          <p:cNvPr id="8" name="Rechthoek 7">
            <a:extLst>
              <a:ext uri="{FF2B5EF4-FFF2-40B4-BE49-F238E27FC236}">
                <a16:creationId xmlns:a16="http://schemas.microsoft.com/office/drawing/2014/main" id="{5CD86996-D874-586B-45A0-0CB75701A4C5}"/>
              </a:ext>
            </a:extLst>
          </p:cNvPr>
          <p:cNvSpPr/>
          <p:nvPr/>
        </p:nvSpPr>
        <p:spPr>
          <a:xfrm>
            <a:off x="16649334" y="7239844"/>
            <a:ext cx="6520437" cy="1586696"/>
          </a:xfrm>
          <a:prstGeom prst="rect">
            <a:avLst/>
          </a:prstGeom>
          <a:solidFill>
            <a:schemeClr val="bg1">
              <a:alpha val="5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135467" tIns="135467" rIns="135467" bIns="135467" numCol="1" spcCol="38100" rtlCol="0" anchor="ctr">
            <a:spAutoFit/>
          </a:bodyPr>
          <a:lstStyle/>
          <a:p>
            <a:pPr algn="ctr" defTabSz="2201361">
              <a:lnSpc>
                <a:spcPct val="100000"/>
              </a:lnSpc>
              <a:spcBef>
                <a:spcPts val="0"/>
              </a:spcBef>
            </a:pPr>
            <a:endParaRPr lang="nl-NL" sz="8533">
              <a:solidFill>
                <a:srgbClr val="FFFFFF"/>
              </a:solidFill>
              <a:latin typeface="Helvetica Neue Medium"/>
              <a:ea typeface="Helvetica Neue Medium"/>
              <a:cs typeface="Helvetica Neue Medium"/>
              <a:sym typeface="Helvetica Neue Medium"/>
            </a:endParaRPr>
          </a:p>
        </p:txBody>
      </p:sp>
      <p:sp>
        <p:nvSpPr>
          <p:cNvPr id="12" name="Tekstvak 11">
            <a:extLst>
              <a:ext uri="{FF2B5EF4-FFF2-40B4-BE49-F238E27FC236}">
                <a16:creationId xmlns:a16="http://schemas.microsoft.com/office/drawing/2014/main" id="{4D2F9082-3E4D-776D-11F4-45E966BB2908}"/>
              </a:ext>
            </a:extLst>
          </p:cNvPr>
          <p:cNvSpPr txBox="1"/>
          <p:nvPr/>
        </p:nvSpPr>
        <p:spPr>
          <a:xfrm>
            <a:off x="2213560" y="7006542"/>
            <a:ext cx="5271403" cy="1836517"/>
          </a:xfrm>
          <a:prstGeom prst="rect">
            <a:avLst/>
          </a:prstGeom>
        </p:spPr>
        <p:txBody>
          <a:bodyPr vert="horz" wrap="square" lIns="243840" tIns="121920" rIns="243840" bIns="121920" rtlCol="0">
            <a:normAutofit fontScale="85000" lnSpcReduction="20000"/>
          </a:bodyPr>
          <a:lstStyle/>
          <a:p>
            <a:pPr algn="ctr">
              <a:lnSpc>
                <a:spcPct val="124000"/>
              </a:lnSpc>
              <a:spcBef>
                <a:spcPts val="0"/>
              </a:spcBef>
            </a:pPr>
            <a:r>
              <a:rPr lang="en-US" sz="3733" b="1"/>
              <a:t>1. </a:t>
            </a:r>
            <a:r>
              <a:rPr lang="en-US" sz="3733" b="1" err="1"/>
              <a:t>Meerdere</a:t>
            </a:r>
            <a:r>
              <a:rPr lang="en-US" sz="3733" b="1"/>
              <a:t> </a:t>
            </a:r>
            <a:r>
              <a:rPr lang="en-US" sz="3733" b="1" err="1"/>
              <a:t>vezelverwerkingshubs</a:t>
            </a:r>
            <a:r>
              <a:rPr lang="en-US" sz="3733" b="1"/>
              <a:t> in Zuid-Holland</a:t>
            </a:r>
            <a:endParaRPr lang="nl-NL" sz="3733" b="1" err="1"/>
          </a:p>
        </p:txBody>
      </p:sp>
      <p:sp>
        <p:nvSpPr>
          <p:cNvPr id="13" name="Tekstvak 12">
            <a:extLst>
              <a:ext uri="{FF2B5EF4-FFF2-40B4-BE49-F238E27FC236}">
                <a16:creationId xmlns:a16="http://schemas.microsoft.com/office/drawing/2014/main" id="{A5477DE6-FD1D-9380-109E-80878054A183}"/>
              </a:ext>
            </a:extLst>
          </p:cNvPr>
          <p:cNvSpPr txBox="1"/>
          <p:nvPr/>
        </p:nvSpPr>
        <p:spPr>
          <a:xfrm>
            <a:off x="9785968" y="7006542"/>
            <a:ext cx="5271403" cy="1836517"/>
          </a:xfrm>
          <a:prstGeom prst="rect">
            <a:avLst/>
          </a:prstGeom>
        </p:spPr>
        <p:txBody>
          <a:bodyPr vert="horz" wrap="square" lIns="243840" tIns="121920" rIns="243840" bIns="121920" rtlCol="0">
            <a:normAutofit fontScale="85000" lnSpcReduction="20000"/>
          </a:bodyPr>
          <a:lstStyle/>
          <a:p>
            <a:pPr algn="ctr">
              <a:lnSpc>
                <a:spcPct val="124000"/>
              </a:lnSpc>
              <a:spcBef>
                <a:spcPts val="0"/>
              </a:spcBef>
            </a:pPr>
            <a:r>
              <a:rPr lang="en-US" sz="3733" b="1"/>
              <a:t>2. Biobased </a:t>
            </a:r>
            <a:r>
              <a:rPr lang="en-US" sz="3733" b="1" err="1"/>
              <a:t>isolatiemateriaal</a:t>
            </a:r>
            <a:r>
              <a:rPr lang="en-US" sz="3733" b="1"/>
              <a:t> </a:t>
            </a:r>
            <a:r>
              <a:rPr lang="en-US" sz="3733" b="1" err="1"/>
              <a:t>gangbaarder</a:t>
            </a:r>
            <a:r>
              <a:rPr lang="en-US" sz="3733" b="1"/>
              <a:t> </a:t>
            </a:r>
            <a:r>
              <a:rPr lang="en-US" sz="3733" b="1" err="1"/>
              <a:t>maken</a:t>
            </a:r>
            <a:endParaRPr lang="nl-NL" sz="3733" b="1" err="1"/>
          </a:p>
        </p:txBody>
      </p:sp>
      <p:sp>
        <p:nvSpPr>
          <p:cNvPr id="14" name="Tekstvak 13">
            <a:extLst>
              <a:ext uri="{FF2B5EF4-FFF2-40B4-BE49-F238E27FC236}">
                <a16:creationId xmlns:a16="http://schemas.microsoft.com/office/drawing/2014/main" id="{98F12FA2-85F3-5C17-041C-B967494697C6}"/>
              </a:ext>
            </a:extLst>
          </p:cNvPr>
          <p:cNvSpPr txBox="1"/>
          <p:nvPr/>
        </p:nvSpPr>
        <p:spPr>
          <a:xfrm>
            <a:off x="16899037" y="7006542"/>
            <a:ext cx="5271403" cy="1836517"/>
          </a:xfrm>
          <a:prstGeom prst="rect">
            <a:avLst/>
          </a:prstGeom>
        </p:spPr>
        <p:txBody>
          <a:bodyPr vert="horz" wrap="square" lIns="243840" tIns="121920" rIns="243840" bIns="121920" rtlCol="0">
            <a:normAutofit/>
          </a:bodyPr>
          <a:lstStyle/>
          <a:p>
            <a:pPr algn="ctr">
              <a:lnSpc>
                <a:spcPct val="124000"/>
              </a:lnSpc>
              <a:spcBef>
                <a:spcPts val="0"/>
              </a:spcBef>
            </a:pPr>
            <a:r>
              <a:rPr lang="en-US" sz="3733" b="1"/>
              <a:t>3. </a:t>
            </a:r>
          </a:p>
          <a:p>
            <a:pPr algn="ctr">
              <a:lnSpc>
                <a:spcPct val="124000"/>
              </a:lnSpc>
              <a:spcBef>
                <a:spcPts val="0"/>
              </a:spcBef>
            </a:pPr>
            <a:r>
              <a:rPr lang="en-US" sz="3733" b="1"/>
              <a:t>???</a:t>
            </a:r>
            <a:endParaRPr lang="nl-NL" sz="3733" b="1" err="1"/>
          </a:p>
        </p:txBody>
      </p:sp>
    </p:spTree>
    <p:extLst>
      <p:ext uri="{BB962C8B-B14F-4D97-AF65-F5344CB8AC3E}">
        <p14:creationId xmlns:p14="http://schemas.microsoft.com/office/powerpoint/2010/main" val="3235250888"/>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5E5B9D-5F90-FD48-54BC-69E193F3DA18}"/>
              </a:ext>
            </a:extLst>
          </p:cNvPr>
          <p:cNvSpPr>
            <a:spLocks noGrp="1"/>
          </p:cNvSpPr>
          <p:nvPr>
            <p:ph type="title"/>
          </p:nvPr>
        </p:nvSpPr>
        <p:spPr/>
        <p:txBody>
          <a:bodyPr/>
          <a:lstStyle/>
          <a:p>
            <a:r>
              <a:rPr lang="nl-NL"/>
              <a:t>Aan de slag!</a:t>
            </a:r>
          </a:p>
        </p:txBody>
      </p:sp>
      <p:sp>
        <p:nvSpPr>
          <p:cNvPr id="3" name="Tijdelijke aanduiding voor inhoud 2">
            <a:extLst>
              <a:ext uri="{FF2B5EF4-FFF2-40B4-BE49-F238E27FC236}">
                <a16:creationId xmlns:a16="http://schemas.microsoft.com/office/drawing/2014/main" id="{C588FB49-BF41-EA03-219F-479DF1D2E89E}"/>
              </a:ext>
            </a:extLst>
          </p:cNvPr>
          <p:cNvSpPr>
            <a:spLocks noGrp="1"/>
          </p:cNvSpPr>
          <p:nvPr>
            <p:ph sz="quarter" idx="13"/>
          </p:nvPr>
        </p:nvSpPr>
        <p:spPr/>
        <p:txBody>
          <a:bodyPr/>
          <a:lstStyle/>
          <a:p>
            <a:r>
              <a:rPr lang="nl-NL" sz="3200"/>
              <a:t>Sluit je aan bij een van de drie projecten:</a:t>
            </a:r>
          </a:p>
          <a:p>
            <a:r>
              <a:rPr lang="nl-NL" sz="3200"/>
              <a:t>Hoe zorgen we ervoor dat de projecten voldoen aan e criteria voor een doorbraakproject?</a:t>
            </a:r>
          </a:p>
          <a:p>
            <a:pPr marL="514350" indent="-514350">
              <a:buFont typeface="+mj-lt"/>
              <a:buAutoNum type="arabicPeriod"/>
            </a:pPr>
            <a:endParaRPr lang="nl-NL" sz="3200"/>
          </a:p>
          <a:p>
            <a:endParaRPr lang="nl-NL"/>
          </a:p>
          <a:p>
            <a:endParaRPr lang="nl-NL"/>
          </a:p>
        </p:txBody>
      </p:sp>
      <p:pic>
        <p:nvPicPr>
          <p:cNvPr id="7" name="Tijdelijke aanduiding voor afbeelding 6" descr="Gereedschap op een werkbank">
            <a:extLst>
              <a:ext uri="{FF2B5EF4-FFF2-40B4-BE49-F238E27FC236}">
                <a16:creationId xmlns:a16="http://schemas.microsoft.com/office/drawing/2014/main" id="{0BFB4BAE-D105-76A5-8621-FFC3A346CAA4}"/>
              </a:ext>
            </a:extLst>
          </p:cNvPr>
          <p:cNvPicPr>
            <a:picLocks noGrp="1" noChangeAspect="1"/>
          </p:cNvPicPr>
          <p:nvPr>
            <p:ph type="pic" sz="quarter" idx="24"/>
          </p:nvPr>
        </p:nvPicPr>
        <p:blipFill>
          <a:blip r:embed="rId3" cstate="print">
            <a:extLst>
              <a:ext uri="{28A0092B-C50C-407E-A947-70E740481C1C}">
                <a14:useLocalDpi xmlns:a14="http://schemas.microsoft.com/office/drawing/2010/main" val="0"/>
              </a:ext>
            </a:extLst>
          </a:blip>
          <a:srcRect l="16575" r="16575"/>
          <a:stretch>
            <a:fillRect/>
          </a:stretch>
        </p:blipFill>
        <p:spPr/>
      </p:pic>
      <p:sp>
        <p:nvSpPr>
          <p:cNvPr id="5" name="Tijdelijke aanduiding voor tekst 4">
            <a:extLst>
              <a:ext uri="{FF2B5EF4-FFF2-40B4-BE49-F238E27FC236}">
                <a16:creationId xmlns:a16="http://schemas.microsoft.com/office/drawing/2014/main" id="{2EFF08E7-77BD-8082-9548-23FD74AA81B7}"/>
              </a:ext>
            </a:extLst>
          </p:cNvPr>
          <p:cNvSpPr>
            <a:spLocks noGrp="1"/>
          </p:cNvSpPr>
          <p:nvPr>
            <p:ph type="body" sz="quarter" idx="14"/>
          </p:nvPr>
        </p:nvSpPr>
        <p:spPr/>
        <p:txBody>
          <a:bodyPr/>
          <a:lstStyle/>
          <a:p>
            <a:endParaRPr lang="nl-NL"/>
          </a:p>
        </p:txBody>
      </p:sp>
    </p:spTree>
    <p:extLst>
      <p:ext uri="{BB962C8B-B14F-4D97-AF65-F5344CB8AC3E}">
        <p14:creationId xmlns:p14="http://schemas.microsoft.com/office/powerpoint/2010/main" val="2950489833"/>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Tijdelijke aanduiding voor afbeelding 2" descr="Handen die een shamrock vasthouden">
            <a:extLst>
              <a:ext uri="{FF2B5EF4-FFF2-40B4-BE49-F238E27FC236}">
                <a16:creationId xmlns:a16="http://schemas.microsoft.com/office/drawing/2014/main" id="{E0F2098B-5674-2C5D-4F75-6FD2D12AC742}"/>
              </a:ext>
            </a:extLst>
          </p:cNvPr>
          <p:cNvPicPr>
            <a:picLocks noGrp="1" noChangeAspect="1"/>
          </p:cNvPicPr>
          <p:nvPr>
            <p:ph type="pic" sz="quarter" idx="24"/>
          </p:nvPr>
        </p:nvPicPr>
        <p:blipFill>
          <a:blip r:embed="rId2">
            <a:extLst>
              <a:ext uri="{28A0092B-C50C-407E-A947-70E740481C1C}">
                <a14:useLocalDpi xmlns:a14="http://schemas.microsoft.com/office/drawing/2010/main" val="0"/>
              </a:ext>
            </a:extLst>
          </a:blip>
          <a:srcRect l="16503" r="16503"/>
          <a:stretch>
            <a:fillRect/>
          </a:stretch>
        </p:blipFill>
        <p:spPr/>
      </p:pic>
    </p:spTree>
    <p:extLst>
      <p:ext uri="{BB962C8B-B14F-4D97-AF65-F5344CB8AC3E}">
        <p14:creationId xmlns:p14="http://schemas.microsoft.com/office/powerpoint/2010/main" val="993860406"/>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4236" y="4236"/>
          <a:ext cx="4232" cy="4232"/>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4236" y="4236"/>
                        <a:ext cx="4232" cy="4232"/>
                      </a:xfrm>
                      <a:prstGeom prst="rect">
                        <a:avLst/>
                      </a:prstGeom>
                    </p:spPr>
                  </p:pic>
                </p:oleObj>
              </mc:Fallback>
            </mc:AlternateContent>
          </a:graphicData>
        </a:graphic>
      </p:graphicFrame>
      <p:sp>
        <p:nvSpPr>
          <p:cNvPr id="6" name="Title 5"/>
          <p:cNvSpPr>
            <a:spLocks noGrp="1"/>
          </p:cNvSpPr>
          <p:nvPr>
            <p:ph type="ctrTitle"/>
            <p:custDataLst>
              <p:tags r:id="rId2"/>
            </p:custDataLst>
          </p:nvPr>
        </p:nvSpPr>
        <p:spPr>
          <a:xfrm>
            <a:off x="826607" y="4545298"/>
            <a:ext cx="16836568" cy="1646797"/>
          </a:xfrm>
        </p:spPr>
        <p:txBody>
          <a:bodyPr/>
          <a:lstStyle/>
          <a:p>
            <a:r>
              <a:rPr lang="nl-NL" sz="6400"/>
              <a:t>Website Vernieuwersnetwerk </a:t>
            </a:r>
            <a:br>
              <a:rPr lang="nl-NL" sz="6400"/>
            </a:br>
            <a:r>
              <a:rPr lang="nl-NL" sz="6400"/>
              <a:t>Biobased Bouwen Zuid-Holland</a:t>
            </a:r>
          </a:p>
        </p:txBody>
      </p:sp>
      <p:sp>
        <p:nvSpPr>
          <p:cNvPr id="7" name="Subtitle 6"/>
          <p:cNvSpPr>
            <a:spLocks noGrp="1"/>
          </p:cNvSpPr>
          <p:nvPr>
            <p:ph type="subTitle" idx="1"/>
            <p:custDataLst>
              <p:tags r:id="rId3"/>
            </p:custDataLst>
          </p:nvPr>
        </p:nvSpPr>
        <p:spPr>
          <a:xfrm>
            <a:off x="826607" y="6571467"/>
            <a:ext cx="9457768" cy="968086"/>
          </a:xfrm>
        </p:spPr>
        <p:txBody>
          <a:bodyPr/>
          <a:lstStyle/>
          <a:p>
            <a:r>
              <a:rPr lang="nl-NL"/>
              <a:t>Landingspagina voor het netwerk</a:t>
            </a:r>
          </a:p>
        </p:txBody>
      </p:sp>
      <p:sp>
        <p:nvSpPr>
          <p:cNvPr id="3" name="Subtitle 6">
            <a:extLst>
              <a:ext uri="{FF2B5EF4-FFF2-40B4-BE49-F238E27FC236}">
                <a16:creationId xmlns:a16="http://schemas.microsoft.com/office/drawing/2014/main" id="{6D66C201-3BD1-B3A4-4051-140B3579A24A}"/>
              </a:ext>
            </a:extLst>
          </p:cNvPr>
          <p:cNvSpPr txBox="1">
            <a:spLocks/>
          </p:cNvSpPr>
          <p:nvPr>
            <p:custDataLst>
              <p:tags r:id="rId4"/>
            </p:custDataLst>
          </p:nvPr>
        </p:nvSpPr>
        <p:spPr>
          <a:xfrm>
            <a:off x="826607" y="10534993"/>
            <a:ext cx="9457768" cy="2986780"/>
          </a:xfrm>
          <a:prstGeom prst="rect">
            <a:avLst/>
          </a:prstGeom>
        </p:spPr>
        <p:txBody>
          <a:bodyPr wrap="square">
            <a:spAutoFit/>
          </a:bodyPr>
          <a:lstStyle>
            <a:lvl1pPr marL="0" indent="0" algn="l" defTabSz="914400" rtl="0" eaLnBrk="1" latinLnBrk="0" hangingPunct="1">
              <a:lnSpc>
                <a:spcPct val="105000"/>
              </a:lnSpc>
              <a:spcBef>
                <a:spcPts val="0"/>
              </a:spcBef>
              <a:buFont typeface="Arial" pitchFamily="34" charset="0"/>
              <a:buNone/>
              <a:defRPr sz="1600" kern="1200">
                <a:solidFill>
                  <a:srgbClr val="281F6B"/>
                </a:solidFill>
                <a:latin typeface="Georgia" panose="02040502050405020303" pitchFamily="18" charset="0"/>
                <a:ea typeface="+mn-ea"/>
                <a:cs typeface="+mn-cs"/>
              </a:defRPr>
            </a:lvl1pPr>
            <a:lvl2pPr marL="457200" indent="0" algn="ctr" defTabSz="914400" rtl="0" eaLnBrk="1" latinLnBrk="0" hangingPunct="1">
              <a:lnSpc>
                <a:spcPct val="105000"/>
              </a:lnSpc>
              <a:spcBef>
                <a:spcPts val="0"/>
              </a:spcBef>
              <a:buFont typeface="Arial" pitchFamily="34" charset="0"/>
              <a:buNone/>
              <a:defRPr sz="1800" kern="1200">
                <a:solidFill>
                  <a:schemeClr val="tx1">
                    <a:tint val="75000"/>
                  </a:schemeClr>
                </a:solidFill>
                <a:latin typeface="+mn-lt"/>
                <a:ea typeface="+mn-ea"/>
                <a:cs typeface="+mn-cs"/>
              </a:defRPr>
            </a:lvl2pPr>
            <a:lvl3pPr marL="914400" indent="0" algn="ctr" defTabSz="914400" rtl="0" eaLnBrk="1" latinLnBrk="0" hangingPunct="1">
              <a:lnSpc>
                <a:spcPct val="105000"/>
              </a:lnSpc>
              <a:spcBef>
                <a:spcPts val="0"/>
              </a:spcBef>
              <a:buFont typeface="Arial" pitchFamily="34" charset="0"/>
              <a:buNone/>
              <a:defRPr sz="1800" kern="1200">
                <a:solidFill>
                  <a:schemeClr val="tx1">
                    <a:tint val="75000"/>
                  </a:schemeClr>
                </a:solidFill>
                <a:latin typeface="+mn-lt"/>
                <a:ea typeface="+mn-ea"/>
                <a:cs typeface="+mn-cs"/>
              </a:defRPr>
            </a:lvl3pPr>
            <a:lvl4pPr marL="1371600" indent="0" algn="ctr" defTabSz="914400" rtl="0" eaLnBrk="1" latinLnBrk="0" hangingPunct="1">
              <a:lnSpc>
                <a:spcPct val="105000"/>
              </a:lnSpc>
              <a:spcBef>
                <a:spcPts val="0"/>
              </a:spcBef>
              <a:buFont typeface="Arial" pitchFamily="34" charset="0"/>
              <a:buNone/>
              <a:defRPr sz="1800" kern="1200">
                <a:solidFill>
                  <a:schemeClr val="tx1">
                    <a:tint val="75000"/>
                  </a:schemeClr>
                </a:solidFill>
                <a:latin typeface="+mn-lt"/>
                <a:ea typeface="+mn-ea"/>
                <a:cs typeface="+mn-cs"/>
              </a:defRPr>
            </a:lvl4pPr>
            <a:lvl5pPr marL="1828800" indent="0" algn="ctr" defTabSz="914400" rtl="0" eaLnBrk="1" latinLnBrk="0" hangingPunct="1">
              <a:lnSpc>
                <a:spcPct val="105000"/>
              </a:lnSpc>
              <a:spcBef>
                <a:spcPts val="0"/>
              </a:spcBef>
              <a:buFont typeface="Arial" pitchFamily="34" charset="0"/>
              <a:buNone/>
              <a:defRPr sz="1800" kern="1200">
                <a:solidFill>
                  <a:schemeClr val="tx1">
                    <a:tint val="75000"/>
                  </a:schemeClr>
                </a:solidFill>
                <a:latin typeface="+mn-lt"/>
                <a:ea typeface="+mn-ea"/>
                <a:cs typeface="+mn-cs"/>
              </a:defRPr>
            </a:lvl5pPr>
            <a:lvl6pPr marL="2286000" indent="0" algn="ctr" defTabSz="914400" rtl="0" eaLnBrk="1" latinLnBrk="0" hangingPunct="1">
              <a:lnSpc>
                <a:spcPct val="105000"/>
              </a:lnSpc>
              <a:spcBef>
                <a:spcPts val="0"/>
              </a:spcBef>
              <a:buFont typeface="Arial" pitchFamily="34" charset="0"/>
              <a:buNone/>
              <a:defRPr sz="18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nl-NL" sz="4267"/>
              <a:t>Pascal van Dam </a:t>
            </a:r>
          </a:p>
          <a:p>
            <a:endParaRPr lang="nl-NL" sz="4267"/>
          </a:p>
          <a:p>
            <a:r>
              <a:rPr lang="nl-NL" sz="4800" b="0" i="1">
                <a:effectLst/>
                <a:latin typeface="-apple-system"/>
              </a:rPr>
              <a:t>Beleidsmedewerker programma Circulair Zuid-Holland</a:t>
            </a:r>
            <a:endParaRPr lang="nl-NL" sz="4267" i="1"/>
          </a:p>
        </p:txBody>
      </p:sp>
      <p:pic>
        <p:nvPicPr>
          <p:cNvPr id="1028" name="Picture 4" descr="Profielfoto van Pascal van Dam">
            <a:extLst>
              <a:ext uri="{FF2B5EF4-FFF2-40B4-BE49-F238E27FC236}">
                <a16:creationId xmlns:a16="http://schemas.microsoft.com/office/drawing/2014/main" id="{B7FF0BA0-F61D-FABC-493A-B58DE6721CF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123010" y="7936854"/>
            <a:ext cx="4838700" cy="4838700"/>
          </a:xfrm>
          <a:prstGeom prst="flowChartConnector">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78569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Afbeelding 6">
            <a:extLst>
              <a:ext uri="{FF2B5EF4-FFF2-40B4-BE49-F238E27FC236}">
                <a16:creationId xmlns:a16="http://schemas.microsoft.com/office/drawing/2014/main" id="{B73315E7-AEE0-438F-5A60-3F361F53790E}"/>
              </a:ext>
            </a:extLst>
          </p:cNvPr>
          <p:cNvPicPr>
            <a:picLocks noChangeAspect="1"/>
          </p:cNvPicPr>
          <p:nvPr/>
        </p:nvPicPr>
        <p:blipFill rotWithShape="1">
          <a:blip r:embed="rId2"/>
          <a:srcRect r="2896"/>
          <a:stretch/>
        </p:blipFill>
        <p:spPr>
          <a:xfrm>
            <a:off x="12013539" y="2892489"/>
            <a:ext cx="12579176" cy="9618597"/>
          </a:xfrm>
          <a:prstGeom prst="rect">
            <a:avLst/>
          </a:prstGeom>
          <a:noFill/>
        </p:spPr>
      </p:pic>
      <p:pic>
        <p:nvPicPr>
          <p:cNvPr id="9" name="Afbeelding 8">
            <a:extLst>
              <a:ext uri="{FF2B5EF4-FFF2-40B4-BE49-F238E27FC236}">
                <a16:creationId xmlns:a16="http://schemas.microsoft.com/office/drawing/2014/main" id="{B4B4F237-264C-22DE-0DFC-79B892641B8E}"/>
              </a:ext>
            </a:extLst>
          </p:cNvPr>
          <p:cNvPicPr>
            <a:picLocks noChangeAspect="1"/>
          </p:cNvPicPr>
          <p:nvPr/>
        </p:nvPicPr>
        <p:blipFill>
          <a:blip r:embed="rId3"/>
          <a:stretch>
            <a:fillRect/>
          </a:stretch>
        </p:blipFill>
        <p:spPr>
          <a:xfrm>
            <a:off x="0" y="0"/>
            <a:ext cx="2971800" cy="1038225"/>
          </a:xfrm>
          <a:prstGeom prst="rect">
            <a:avLst/>
          </a:prstGeom>
        </p:spPr>
      </p:pic>
      <p:pic>
        <p:nvPicPr>
          <p:cNvPr id="15" name="Afbeelding 14">
            <a:extLst>
              <a:ext uri="{FF2B5EF4-FFF2-40B4-BE49-F238E27FC236}">
                <a16:creationId xmlns:a16="http://schemas.microsoft.com/office/drawing/2014/main" id="{702FEBE0-E61C-25D7-E7B6-82E6878960DA}"/>
              </a:ext>
            </a:extLst>
          </p:cNvPr>
          <p:cNvPicPr>
            <a:picLocks noChangeAspect="1"/>
          </p:cNvPicPr>
          <p:nvPr/>
        </p:nvPicPr>
        <p:blipFill>
          <a:blip r:embed="rId4"/>
          <a:stretch>
            <a:fillRect/>
          </a:stretch>
        </p:blipFill>
        <p:spPr>
          <a:xfrm>
            <a:off x="259269" y="1509094"/>
            <a:ext cx="11553285" cy="11418375"/>
          </a:xfrm>
          <a:prstGeom prst="rect">
            <a:avLst/>
          </a:prstGeom>
        </p:spPr>
      </p:pic>
    </p:spTree>
    <p:extLst>
      <p:ext uri="{BB962C8B-B14F-4D97-AF65-F5344CB8AC3E}">
        <p14:creationId xmlns:p14="http://schemas.microsoft.com/office/powerpoint/2010/main" val="2610938188"/>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Afbeelding 5">
            <a:extLst>
              <a:ext uri="{FF2B5EF4-FFF2-40B4-BE49-F238E27FC236}">
                <a16:creationId xmlns:a16="http://schemas.microsoft.com/office/drawing/2014/main" id="{451917B4-B082-3E69-66B7-59BECF51057E}"/>
              </a:ext>
            </a:extLst>
          </p:cNvPr>
          <p:cNvPicPr>
            <a:picLocks noChangeAspect="1"/>
          </p:cNvPicPr>
          <p:nvPr/>
        </p:nvPicPr>
        <p:blipFill rotWithShape="1">
          <a:blip r:embed="rId2"/>
          <a:srcRect r="1" b="20351"/>
          <a:stretch/>
        </p:blipFill>
        <p:spPr>
          <a:xfrm>
            <a:off x="70700" y="3478410"/>
            <a:ext cx="11798213" cy="9021438"/>
          </a:xfrm>
          <a:prstGeom prst="rect">
            <a:avLst/>
          </a:prstGeom>
          <a:noFill/>
        </p:spPr>
      </p:pic>
      <p:pic>
        <p:nvPicPr>
          <p:cNvPr id="14" name="Afbeelding 13">
            <a:extLst>
              <a:ext uri="{FF2B5EF4-FFF2-40B4-BE49-F238E27FC236}">
                <a16:creationId xmlns:a16="http://schemas.microsoft.com/office/drawing/2014/main" id="{B0E480C3-222A-C542-66D9-B3906EC04A01}"/>
              </a:ext>
            </a:extLst>
          </p:cNvPr>
          <p:cNvPicPr>
            <a:picLocks noChangeAspect="1"/>
          </p:cNvPicPr>
          <p:nvPr/>
        </p:nvPicPr>
        <p:blipFill>
          <a:blip r:embed="rId3"/>
          <a:stretch>
            <a:fillRect/>
          </a:stretch>
        </p:blipFill>
        <p:spPr>
          <a:xfrm>
            <a:off x="70700" y="0"/>
            <a:ext cx="2971800" cy="1038225"/>
          </a:xfrm>
          <a:prstGeom prst="rect">
            <a:avLst/>
          </a:prstGeom>
        </p:spPr>
      </p:pic>
      <p:pic>
        <p:nvPicPr>
          <p:cNvPr id="3" name="Afbeelding 2">
            <a:extLst>
              <a:ext uri="{FF2B5EF4-FFF2-40B4-BE49-F238E27FC236}">
                <a16:creationId xmlns:a16="http://schemas.microsoft.com/office/drawing/2014/main" id="{595F34CD-DA09-1BED-9A9F-C83F6F921423}"/>
              </a:ext>
            </a:extLst>
          </p:cNvPr>
          <p:cNvPicPr>
            <a:picLocks noChangeAspect="1"/>
          </p:cNvPicPr>
          <p:nvPr/>
        </p:nvPicPr>
        <p:blipFill>
          <a:blip r:embed="rId4"/>
          <a:stretch>
            <a:fillRect/>
          </a:stretch>
        </p:blipFill>
        <p:spPr>
          <a:xfrm>
            <a:off x="13611278" y="3776305"/>
            <a:ext cx="10261093" cy="9488518"/>
          </a:xfrm>
          <a:prstGeom prst="rect">
            <a:avLst/>
          </a:prstGeom>
        </p:spPr>
      </p:pic>
    </p:spTree>
    <p:extLst>
      <p:ext uri="{BB962C8B-B14F-4D97-AF65-F5344CB8AC3E}">
        <p14:creationId xmlns:p14="http://schemas.microsoft.com/office/powerpoint/2010/main" val="1044050009"/>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28F51430-B818-97CA-E936-32D2DA62B5E6}"/>
              </a:ext>
            </a:extLst>
          </p:cNvPr>
          <p:cNvPicPr>
            <a:picLocks noChangeAspect="1"/>
          </p:cNvPicPr>
          <p:nvPr/>
        </p:nvPicPr>
        <p:blipFill>
          <a:blip r:embed="rId2"/>
          <a:stretch>
            <a:fillRect/>
          </a:stretch>
        </p:blipFill>
        <p:spPr>
          <a:xfrm>
            <a:off x="1878425" y="4040319"/>
            <a:ext cx="8945223" cy="8897592"/>
          </a:xfrm>
          <a:prstGeom prst="rect">
            <a:avLst/>
          </a:prstGeom>
        </p:spPr>
      </p:pic>
      <p:pic>
        <p:nvPicPr>
          <p:cNvPr id="5" name="Afbeelding 4">
            <a:extLst>
              <a:ext uri="{FF2B5EF4-FFF2-40B4-BE49-F238E27FC236}">
                <a16:creationId xmlns:a16="http://schemas.microsoft.com/office/drawing/2014/main" id="{2013E2B3-1B4A-8088-AF86-38E63D68E885}"/>
              </a:ext>
            </a:extLst>
          </p:cNvPr>
          <p:cNvPicPr>
            <a:picLocks noChangeAspect="1"/>
          </p:cNvPicPr>
          <p:nvPr/>
        </p:nvPicPr>
        <p:blipFill>
          <a:blip r:embed="rId3"/>
          <a:stretch>
            <a:fillRect/>
          </a:stretch>
        </p:blipFill>
        <p:spPr>
          <a:xfrm>
            <a:off x="13153393" y="4126056"/>
            <a:ext cx="9050013" cy="8811855"/>
          </a:xfrm>
          <a:prstGeom prst="rect">
            <a:avLst/>
          </a:prstGeom>
        </p:spPr>
      </p:pic>
      <p:pic>
        <p:nvPicPr>
          <p:cNvPr id="8" name="Afbeelding 7">
            <a:extLst>
              <a:ext uri="{FF2B5EF4-FFF2-40B4-BE49-F238E27FC236}">
                <a16:creationId xmlns:a16="http://schemas.microsoft.com/office/drawing/2014/main" id="{83E9ECCC-54AC-14BE-61BC-78AB3C5FEE2E}"/>
              </a:ext>
            </a:extLst>
          </p:cNvPr>
          <p:cNvPicPr>
            <a:picLocks noChangeAspect="1"/>
          </p:cNvPicPr>
          <p:nvPr/>
        </p:nvPicPr>
        <p:blipFill>
          <a:blip r:embed="rId4"/>
          <a:stretch>
            <a:fillRect/>
          </a:stretch>
        </p:blipFill>
        <p:spPr>
          <a:xfrm>
            <a:off x="143846" y="0"/>
            <a:ext cx="2971800" cy="1038225"/>
          </a:xfrm>
          <a:prstGeom prst="rect">
            <a:avLst/>
          </a:prstGeom>
        </p:spPr>
      </p:pic>
    </p:spTree>
    <p:extLst>
      <p:ext uri="{BB962C8B-B14F-4D97-AF65-F5344CB8AC3E}">
        <p14:creationId xmlns:p14="http://schemas.microsoft.com/office/powerpoint/2010/main" val="2076074113"/>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4236" y="4236"/>
          <a:ext cx="4232" cy="4232"/>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4236" y="4236"/>
                        <a:ext cx="4232" cy="4232"/>
                      </a:xfrm>
                      <a:prstGeom prst="rect">
                        <a:avLst/>
                      </a:prstGeom>
                    </p:spPr>
                  </p:pic>
                </p:oleObj>
              </mc:Fallback>
            </mc:AlternateContent>
          </a:graphicData>
        </a:graphic>
      </p:graphicFrame>
      <p:sp>
        <p:nvSpPr>
          <p:cNvPr id="6" name="Title 5"/>
          <p:cNvSpPr>
            <a:spLocks noGrp="1"/>
          </p:cNvSpPr>
          <p:nvPr>
            <p:ph type="ctrTitle"/>
            <p:custDataLst>
              <p:tags r:id="rId2"/>
            </p:custDataLst>
          </p:nvPr>
        </p:nvSpPr>
        <p:spPr>
          <a:xfrm>
            <a:off x="826607" y="5333206"/>
            <a:ext cx="16836568" cy="858889"/>
          </a:xfrm>
        </p:spPr>
        <p:txBody>
          <a:bodyPr/>
          <a:lstStyle/>
          <a:p>
            <a:r>
              <a:rPr lang="nl-NL" sz="6400"/>
              <a:t>Subsidieregeling Circulair Zuid-Holland</a:t>
            </a:r>
          </a:p>
        </p:txBody>
      </p:sp>
      <p:sp>
        <p:nvSpPr>
          <p:cNvPr id="7" name="Subtitle 6"/>
          <p:cNvSpPr>
            <a:spLocks noGrp="1"/>
          </p:cNvSpPr>
          <p:nvPr>
            <p:ph type="subTitle" idx="1"/>
            <p:custDataLst>
              <p:tags r:id="rId3"/>
            </p:custDataLst>
          </p:nvPr>
        </p:nvSpPr>
        <p:spPr>
          <a:xfrm>
            <a:off x="826607" y="6571467"/>
            <a:ext cx="9457768" cy="968086"/>
          </a:xfrm>
        </p:spPr>
        <p:txBody>
          <a:bodyPr/>
          <a:lstStyle/>
          <a:p>
            <a:r>
              <a:rPr lang="nl-NL"/>
              <a:t>Stimuleren van doorbraakprojecten</a:t>
            </a:r>
          </a:p>
        </p:txBody>
      </p:sp>
      <p:sp>
        <p:nvSpPr>
          <p:cNvPr id="3" name="Subtitle 6">
            <a:extLst>
              <a:ext uri="{FF2B5EF4-FFF2-40B4-BE49-F238E27FC236}">
                <a16:creationId xmlns:a16="http://schemas.microsoft.com/office/drawing/2014/main" id="{6D66C201-3BD1-B3A4-4051-140B3579A24A}"/>
              </a:ext>
            </a:extLst>
          </p:cNvPr>
          <p:cNvSpPr txBox="1">
            <a:spLocks/>
          </p:cNvSpPr>
          <p:nvPr>
            <p:custDataLst>
              <p:tags r:id="rId4"/>
            </p:custDataLst>
          </p:nvPr>
        </p:nvSpPr>
        <p:spPr>
          <a:xfrm>
            <a:off x="826607" y="10534993"/>
            <a:ext cx="9457768" cy="2115131"/>
          </a:xfrm>
          <a:prstGeom prst="rect">
            <a:avLst/>
          </a:prstGeom>
        </p:spPr>
        <p:txBody>
          <a:bodyPr wrap="square">
            <a:spAutoFit/>
          </a:bodyPr>
          <a:lstStyle>
            <a:lvl1pPr marL="0" indent="0" algn="l" defTabSz="914400" rtl="0" eaLnBrk="1" latinLnBrk="0" hangingPunct="1">
              <a:lnSpc>
                <a:spcPct val="105000"/>
              </a:lnSpc>
              <a:spcBef>
                <a:spcPts val="0"/>
              </a:spcBef>
              <a:buFont typeface="Arial" pitchFamily="34" charset="0"/>
              <a:buNone/>
              <a:defRPr sz="1600" kern="1200">
                <a:solidFill>
                  <a:srgbClr val="281F6B"/>
                </a:solidFill>
                <a:latin typeface="Georgia" panose="02040502050405020303" pitchFamily="18" charset="0"/>
                <a:ea typeface="+mn-ea"/>
                <a:cs typeface="+mn-cs"/>
              </a:defRPr>
            </a:lvl1pPr>
            <a:lvl2pPr marL="457200" indent="0" algn="ctr" defTabSz="914400" rtl="0" eaLnBrk="1" latinLnBrk="0" hangingPunct="1">
              <a:lnSpc>
                <a:spcPct val="105000"/>
              </a:lnSpc>
              <a:spcBef>
                <a:spcPts val="0"/>
              </a:spcBef>
              <a:buFont typeface="Arial" pitchFamily="34" charset="0"/>
              <a:buNone/>
              <a:defRPr sz="1800" kern="1200">
                <a:solidFill>
                  <a:schemeClr val="tx1">
                    <a:tint val="75000"/>
                  </a:schemeClr>
                </a:solidFill>
                <a:latin typeface="+mn-lt"/>
                <a:ea typeface="+mn-ea"/>
                <a:cs typeface="+mn-cs"/>
              </a:defRPr>
            </a:lvl2pPr>
            <a:lvl3pPr marL="914400" indent="0" algn="ctr" defTabSz="914400" rtl="0" eaLnBrk="1" latinLnBrk="0" hangingPunct="1">
              <a:lnSpc>
                <a:spcPct val="105000"/>
              </a:lnSpc>
              <a:spcBef>
                <a:spcPts val="0"/>
              </a:spcBef>
              <a:buFont typeface="Arial" pitchFamily="34" charset="0"/>
              <a:buNone/>
              <a:defRPr sz="1800" kern="1200">
                <a:solidFill>
                  <a:schemeClr val="tx1">
                    <a:tint val="75000"/>
                  </a:schemeClr>
                </a:solidFill>
                <a:latin typeface="+mn-lt"/>
                <a:ea typeface="+mn-ea"/>
                <a:cs typeface="+mn-cs"/>
              </a:defRPr>
            </a:lvl3pPr>
            <a:lvl4pPr marL="1371600" indent="0" algn="ctr" defTabSz="914400" rtl="0" eaLnBrk="1" latinLnBrk="0" hangingPunct="1">
              <a:lnSpc>
                <a:spcPct val="105000"/>
              </a:lnSpc>
              <a:spcBef>
                <a:spcPts val="0"/>
              </a:spcBef>
              <a:buFont typeface="Arial" pitchFamily="34" charset="0"/>
              <a:buNone/>
              <a:defRPr sz="1800" kern="1200">
                <a:solidFill>
                  <a:schemeClr val="tx1">
                    <a:tint val="75000"/>
                  </a:schemeClr>
                </a:solidFill>
                <a:latin typeface="+mn-lt"/>
                <a:ea typeface="+mn-ea"/>
                <a:cs typeface="+mn-cs"/>
              </a:defRPr>
            </a:lvl4pPr>
            <a:lvl5pPr marL="1828800" indent="0" algn="ctr" defTabSz="914400" rtl="0" eaLnBrk="1" latinLnBrk="0" hangingPunct="1">
              <a:lnSpc>
                <a:spcPct val="105000"/>
              </a:lnSpc>
              <a:spcBef>
                <a:spcPts val="0"/>
              </a:spcBef>
              <a:buFont typeface="Arial" pitchFamily="34" charset="0"/>
              <a:buNone/>
              <a:defRPr sz="1800" kern="1200">
                <a:solidFill>
                  <a:schemeClr val="tx1">
                    <a:tint val="75000"/>
                  </a:schemeClr>
                </a:solidFill>
                <a:latin typeface="+mn-lt"/>
                <a:ea typeface="+mn-ea"/>
                <a:cs typeface="+mn-cs"/>
              </a:defRPr>
            </a:lvl5pPr>
            <a:lvl6pPr marL="2286000" indent="0" algn="ctr" defTabSz="914400" rtl="0" eaLnBrk="1" latinLnBrk="0" hangingPunct="1">
              <a:lnSpc>
                <a:spcPct val="105000"/>
              </a:lnSpc>
              <a:spcBef>
                <a:spcPts val="0"/>
              </a:spcBef>
              <a:buFont typeface="Arial" pitchFamily="34" charset="0"/>
              <a:buNone/>
              <a:defRPr sz="18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nl-NL" sz="4267"/>
              <a:t>Gert-Willem van Mourik</a:t>
            </a:r>
          </a:p>
          <a:p>
            <a:endParaRPr lang="nl-NL" sz="4267"/>
          </a:p>
          <a:p>
            <a:r>
              <a:rPr lang="nl-NL" sz="4267" i="1"/>
              <a:t>Transitiemanager Circulair Bouwen</a:t>
            </a:r>
          </a:p>
        </p:txBody>
      </p:sp>
      <p:pic>
        <p:nvPicPr>
          <p:cNvPr id="8" name="Picture 2">
            <a:extLst>
              <a:ext uri="{FF2B5EF4-FFF2-40B4-BE49-F238E27FC236}">
                <a16:creationId xmlns:a16="http://schemas.microsoft.com/office/drawing/2014/main" id="{B776C235-0031-DFED-5EB6-4377A62348C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p:blipFill>
        <p:spPr bwMode="auto">
          <a:xfrm>
            <a:off x="10284375" y="7840831"/>
            <a:ext cx="4735560" cy="4735560"/>
          </a:xfrm>
          <a:prstGeom prst="ellipse">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45457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193C24B-D7D7-3AB3-98B4-BDB0C46594FB}"/>
              </a:ext>
            </a:extLst>
          </p:cNvPr>
          <p:cNvSpPr>
            <a:spLocks noGrp="1"/>
          </p:cNvSpPr>
          <p:nvPr>
            <p:ph type="title"/>
          </p:nvPr>
        </p:nvSpPr>
        <p:spPr/>
        <p:txBody>
          <a:bodyPr/>
          <a:lstStyle/>
          <a:p>
            <a:r>
              <a:rPr lang="nl-NL"/>
              <a:t>Gijs Diercks van Drift – slides </a:t>
            </a:r>
            <a:r>
              <a:rPr lang="nl-NL" err="1"/>
              <a:t>insert</a:t>
            </a:r>
            <a:endParaRPr lang="nl-NL"/>
          </a:p>
        </p:txBody>
      </p:sp>
      <p:sp>
        <p:nvSpPr>
          <p:cNvPr id="3" name="Tijdelijke aanduiding voor inhoud 2">
            <a:extLst>
              <a:ext uri="{FF2B5EF4-FFF2-40B4-BE49-F238E27FC236}">
                <a16:creationId xmlns:a16="http://schemas.microsoft.com/office/drawing/2014/main" id="{22C8C15F-90AE-AF48-9FD3-640E0F3A5D82}"/>
              </a:ext>
            </a:extLst>
          </p:cNvPr>
          <p:cNvSpPr>
            <a:spLocks noGrp="1"/>
          </p:cNvSpPr>
          <p:nvPr>
            <p:ph sz="quarter" idx="13"/>
          </p:nvPr>
        </p:nvSpPr>
        <p:spPr/>
        <p:txBody>
          <a:bodyPr/>
          <a:lstStyle/>
          <a:p>
            <a:endParaRPr lang="nl-NL"/>
          </a:p>
        </p:txBody>
      </p:sp>
      <p:sp>
        <p:nvSpPr>
          <p:cNvPr id="4" name="Tijdelijke aanduiding voor tekst 3">
            <a:extLst>
              <a:ext uri="{FF2B5EF4-FFF2-40B4-BE49-F238E27FC236}">
                <a16:creationId xmlns:a16="http://schemas.microsoft.com/office/drawing/2014/main" id="{BB124C94-A4B2-28F4-3DE9-723D42724242}"/>
              </a:ext>
            </a:extLst>
          </p:cNvPr>
          <p:cNvSpPr>
            <a:spLocks noGrp="1"/>
          </p:cNvSpPr>
          <p:nvPr>
            <p:ph type="body" sz="quarter" idx="14"/>
          </p:nvPr>
        </p:nvSpPr>
        <p:spPr/>
        <p:txBody>
          <a:bodyPr/>
          <a:lstStyle/>
          <a:p>
            <a:endParaRPr lang="nl-NL"/>
          </a:p>
        </p:txBody>
      </p:sp>
    </p:spTree>
    <p:extLst>
      <p:ext uri="{BB962C8B-B14F-4D97-AF65-F5344CB8AC3E}">
        <p14:creationId xmlns:p14="http://schemas.microsoft.com/office/powerpoint/2010/main" val="563465053"/>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2" descr="inlineImage4">
            <a:extLst>
              <a:ext uri="{FF2B5EF4-FFF2-40B4-BE49-F238E27FC236}">
                <a16:creationId xmlns:a16="http://schemas.microsoft.com/office/drawing/2014/main" id="{A627CFD5-FAEB-20C9-66C5-AE2DBA9FF5D7}"/>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292544"/>
            <a:ext cx="24384000" cy="14008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 Placeholder 1">
            <a:extLst>
              <a:ext uri="{FF2B5EF4-FFF2-40B4-BE49-F238E27FC236}">
                <a16:creationId xmlns:a16="http://schemas.microsoft.com/office/drawing/2014/main" id="{5F18AD4C-7CCB-4044-A8E6-213885D41519}"/>
              </a:ext>
            </a:extLst>
          </p:cNvPr>
          <p:cNvSpPr>
            <a:spLocks noGrp="1"/>
          </p:cNvSpPr>
          <p:nvPr>
            <p:ph type="body" sz="quarter" idx="10"/>
          </p:nvPr>
        </p:nvSpPr>
        <p:spPr>
          <a:xfrm>
            <a:off x="548549" y="6858001"/>
            <a:ext cx="11643454" cy="7509934"/>
          </a:xfrm>
        </p:spPr>
        <p:txBody>
          <a:bodyPr/>
          <a:lstStyle/>
          <a:p>
            <a:r>
              <a:rPr lang="nl-NL" sz="7466" dirty="0">
                <a:solidFill>
                  <a:schemeClr val="tx1"/>
                </a:solidFill>
                <a:latin typeface="+mj-lt"/>
              </a:rPr>
              <a:t>Transitie naar </a:t>
            </a:r>
          </a:p>
          <a:p>
            <a:r>
              <a:rPr lang="nl-NL" sz="7466" dirty="0" err="1">
                <a:solidFill>
                  <a:schemeClr val="tx1"/>
                </a:solidFill>
                <a:latin typeface="+mj-lt"/>
              </a:rPr>
              <a:t>biobased</a:t>
            </a:r>
            <a:r>
              <a:rPr lang="nl-NL" sz="7466" dirty="0">
                <a:solidFill>
                  <a:schemeClr val="tx1"/>
                </a:solidFill>
                <a:latin typeface="+mj-lt"/>
              </a:rPr>
              <a:t> bouwen</a:t>
            </a:r>
          </a:p>
          <a:p>
            <a:r>
              <a:rPr lang="nl-NL" sz="5334" b="0" dirty="0">
                <a:solidFill>
                  <a:schemeClr val="tx1"/>
                </a:solidFill>
                <a:latin typeface="+mj-lt"/>
              </a:rPr>
              <a:t>Doorbraakprojecten gezocht</a:t>
            </a:r>
          </a:p>
        </p:txBody>
      </p:sp>
      <p:sp>
        <p:nvSpPr>
          <p:cNvPr id="3" name="Text Placeholder 2">
            <a:extLst>
              <a:ext uri="{FF2B5EF4-FFF2-40B4-BE49-F238E27FC236}">
                <a16:creationId xmlns:a16="http://schemas.microsoft.com/office/drawing/2014/main" id="{95BB1BE5-0E5D-46FF-9B97-716D08B11259}"/>
              </a:ext>
            </a:extLst>
          </p:cNvPr>
          <p:cNvSpPr>
            <a:spLocks noGrp="1"/>
          </p:cNvSpPr>
          <p:nvPr>
            <p:ph type="body" sz="quarter" idx="11"/>
          </p:nvPr>
        </p:nvSpPr>
        <p:spPr>
          <a:xfrm>
            <a:off x="548549" y="11626551"/>
            <a:ext cx="6828590" cy="3156250"/>
          </a:xfrm>
        </p:spPr>
        <p:txBody>
          <a:bodyPr/>
          <a:lstStyle/>
          <a:p>
            <a:r>
              <a:rPr lang="nl-NL" noProof="0" dirty="0">
                <a:solidFill>
                  <a:schemeClr val="tx1"/>
                </a:solidFill>
                <a:latin typeface="+mj-lt"/>
              </a:rPr>
              <a:t>Gijs Diercks</a:t>
            </a:r>
          </a:p>
        </p:txBody>
      </p:sp>
    </p:spTree>
    <p:extLst>
      <p:ext uri="{BB962C8B-B14F-4D97-AF65-F5344CB8AC3E}">
        <p14:creationId xmlns:p14="http://schemas.microsoft.com/office/powerpoint/2010/main" val="4612653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tmjukGkMkq_inFAlwup3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tmjukGkMkq_inFAlwup3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IDM1xhAi06K0U_r73wv2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sAHtt3X90C8v2TrQ7b0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rg1WbKFMUey04DQL2gj1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tmjukGkMkq_inFAlwup3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tmjukGkMkq_inFAlwup3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rg1WbKFMUey04DQL2gj1Q"/>
</p:tagLst>
</file>

<file path=ppt/theme/theme1.xml><?xml version="1.0" encoding="utf-8"?>
<a:theme xmlns:a="http://schemas.openxmlformats.org/drawingml/2006/main" name="Squarewise">
  <a:themeElements>
    <a:clrScheme name="Squarewise">
      <a:dk1>
        <a:srgbClr val="000000"/>
      </a:dk1>
      <a:lt1>
        <a:srgbClr val="FFFFFF"/>
      </a:lt1>
      <a:dk2>
        <a:srgbClr val="676368"/>
      </a:dk2>
      <a:lt2>
        <a:srgbClr val="C7E8E7"/>
      </a:lt2>
      <a:accent1>
        <a:srgbClr val="095139"/>
      </a:accent1>
      <a:accent2>
        <a:srgbClr val="8FD0D0"/>
      </a:accent2>
      <a:accent3>
        <a:srgbClr val="DADACD"/>
      </a:accent3>
      <a:accent4>
        <a:srgbClr val="FDCA13"/>
      </a:accent4>
      <a:accent5>
        <a:srgbClr val="E75B21"/>
      </a:accent5>
      <a:accent6>
        <a:srgbClr val="030303"/>
      </a:accent6>
      <a:hlink>
        <a:srgbClr val="030303"/>
      </a:hlink>
      <a:folHlink>
        <a:srgbClr val="8FD0D0"/>
      </a:folHlink>
    </a:clrScheme>
    <a:fontScheme name="Squarewise 2021">
      <a:majorFont>
        <a:latin typeface="Source Sans Pro SemiBold"/>
        <a:ea typeface="Helvetica Neue"/>
        <a:cs typeface="Helvetica Neue"/>
      </a:majorFont>
      <a:minorFont>
        <a:latin typeface="Source Sans Pro"/>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Squarewise - Presentatie Leeg.potx" id="{135D3206-83FF-48B5-8CB5-A8E5F04B590E}" vid="{ACE5D3DB-661A-4CA3-A4E1-AAF2823E37E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Content Slides">
  <a:themeElements>
    <a:clrScheme name="DRIFT theme">
      <a:dk1>
        <a:sysClr val="windowText" lastClr="000000"/>
      </a:dk1>
      <a:lt1>
        <a:sysClr val="window" lastClr="FFFFFF"/>
      </a:lt1>
      <a:dk2>
        <a:srgbClr val="505150"/>
      </a:dk2>
      <a:lt2>
        <a:srgbClr val="DDDEDD"/>
      </a:lt2>
      <a:accent1>
        <a:srgbClr val="005CFF"/>
      </a:accent1>
      <a:accent2>
        <a:srgbClr val="ED1B5B"/>
      </a:accent2>
      <a:accent3>
        <a:srgbClr val="FDB93E"/>
      </a:accent3>
      <a:accent4>
        <a:srgbClr val="28B788"/>
      </a:accent4>
      <a:accent5>
        <a:srgbClr val="000000"/>
      </a:accent5>
      <a:accent6>
        <a:srgbClr val="B2B3B2"/>
      </a:accent6>
      <a:hlink>
        <a:srgbClr val="000000"/>
      </a:hlink>
      <a:folHlink>
        <a:srgbClr val="98A0A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008ED1CB-8839-4E93-8C0D-E19881C3F73F}" vid="{F46D24FF-91CE-427A-8903-2141062F9E1A}"/>
    </a:ext>
  </a:extLst>
</a:theme>
</file>

<file path=ppt/theme/theme4.xml><?xml version="1.0" encoding="utf-8"?>
<a:theme xmlns:a="http://schemas.openxmlformats.org/drawingml/2006/main" name="21_BasicWhite">
  <a:themeElements>
    <a:clrScheme name="21_BasicWhite">
      <a:dk1>
        <a:srgbClr val="000000"/>
      </a:dk1>
      <a:lt1>
        <a:srgbClr val="FFFFFF"/>
      </a:lt1>
      <a:dk2>
        <a:srgbClr val="5E5E5E"/>
      </a:dk2>
      <a:lt2>
        <a:srgbClr val="D5D5D5"/>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Neue"/>
        <a:ea typeface="Helvetica Neue"/>
        <a:cs typeface="Helvetica Neue"/>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0000"/>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Helvetica Neue Medium"/>
            <a:ea typeface="Helvetica Neue Medium"/>
            <a:cs typeface="Helvetica Neue Medium"/>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2438338" rtl="0" fontAlgn="auto" latinLnBrk="0" hangingPunct="0">
          <a:lnSpc>
            <a:spcPct val="90000"/>
          </a:lnSpc>
          <a:spcBef>
            <a:spcPts val="4500"/>
          </a:spcBef>
          <a:spcAft>
            <a:spcPts val="0"/>
          </a:spcAft>
          <a:buClrTx/>
          <a:buSzTx/>
          <a:buFontTx/>
          <a:buNone/>
          <a:tabLst/>
          <a:defRPr kumimoji="0" sz="4800" b="0" i="0" u="none" strike="noStrike" cap="none" spc="0" normalizeH="0" baseline="0">
            <a:ln>
              <a:noFill/>
            </a:ln>
            <a:solidFill>
              <a:srgbClr val="000000"/>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613" row="8">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7C2AB6E4-9FD8-4394-9180-E4647720410F}">
  <we:reference id="wa104379997" version="2.0.0.0" store="nl-NL" storeType="OMEX"/>
  <we:alternateReferences>
    <we:reference id="WA104379997" version="2.0.0.0"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46ff75a-2ebb-4af0-8234-2ad33a61d444">
      <Terms xmlns="http://schemas.microsoft.com/office/infopath/2007/PartnerControls"/>
    </lcf76f155ced4ddcb4097134ff3c332f>
    <TaxCatchAll xmlns="4f87f5c5-bcee-4be6-a20f-272dee480f1d"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D4FE7D942CEAA48B4A88C4A9215533A" ma:contentTypeVersion="16" ma:contentTypeDescription="Een nieuw document maken." ma:contentTypeScope="" ma:versionID="9f526f7c2eb8365a4375993966c31472">
  <xsd:schema xmlns:xsd="http://www.w3.org/2001/XMLSchema" xmlns:xs="http://www.w3.org/2001/XMLSchema" xmlns:p="http://schemas.microsoft.com/office/2006/metadata/properties" xmlns:ns2="f46ff75a-2ebb-4af0-8234-2ad33a61d444" xmlns:ns3="4f87f5c5-bcee-4be6-a20f-272dee480f1d" targetNamespace="http://schemas.microsoft.com/office/2006/metadata/properties" ma:root="true" ma:fieldsID="7c2b6fd445d2e841fd5a5e042e47f9bd" ns2:_="" ns3:_="">
    <xsd:import namespace="f46ff75a-2ebb-4af0-8234-2ad33a61d444"/>
    <xsd:import namespace="4f87f5c5-bcee-4be6-a20f-272dee480f1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Location" minOccurs="0"/>
                <xsd:element ref="ns2:MediaServiceAutoKeyPoints" minOccurs="0"/>
                <xsd:element ref="ns2:MediaServiceKeyPoints" minOccurs="0"/>
                <xsd:element ref="ns3:SharedWithUsers" minOccurs="0"/>
                <xsd:element ref="ns3:SharedWithDetail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46ff75a-2ebb-4af0-8234-2ad33a61d44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Afbeeldingtags" ma:readOnly="false" ma:fieldId="{5cf76f15-5ced-4ddc-b409-7134ff3c332f}" ma:taxonomyMulti="true" ma:sspId="bb11c618-c500-4016-aacb-f46bc7b8a472"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f87f5c5-bcee-4be6-a20f-272dee480f1d" elementFormDefault="qualified">
    <xsd:import namespace="http://schemas.microsoft.com/office/2006/documentManagement/types"/>
    <xsd:import namespace="http://schemas.microsoft.com/office/infopath/2007/PartnerControls"/>
    <xsd:element name="SharedWithUsers" ma:index="18"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Gedeeld met details" ma:internalName="SharedWithDetails" ma:readOnly="true">
      <xsd:simpleType>
        <xsd:restriction base="dms:Note">
          <xsd:maxLength value="255"/>
        </xsd:restriction>
      </xsd:simpleType>
    </xsd:element>
    <xsd:element name="TaxCatchAll" ma:index="23" nillable="true" ma:displayName="Taxonomy Catch All Column" ma:hidden="true" ma:list="{8210928e-9e89-483e-84d8-0310cffa8703}" ma:internalName="TaxCatchAll" ma:showField="CatchAllData" ma:web="4f87f5c5-bcee-4be6-a20f-272dee480f1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ED41187-3F89-445F-A529-954372C29FAC}">
  <ds:schemaRefs>
    <ds:schemaRef ds:uri="4f87f5c5-bcee-4be6-a20f-272dee480f1d"/>
    <ds:schemaRef ds:uri="f46ff75a-2ebb-4af0-8234-2ad33a61d444"/>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17BA15E6-07B9-41C0-8D36-51661FFA6A2E}">
  <ds:schemaRefs>
    <ds:schemaRef ds:uri="http://schemas.microsoft.com/sharepoint/v3/contenttype/forms"/>
  </ds:schemaRefs>
</ds:datastoreItem>
</file>

<file path=customXml/itemProps3.xml><?xml version="1.0" encoding="utf-8"?>
<ds:datastoreItem xmlns:ds="http://schemas.openxmlformats.org/officeDocument/2006/customXml" ds:itemID="{324D4498-B98A-4507-84A4-27FFAA44ACEE}">
  <ds:schemaRefs>
    <ds:schemaRef ds:uri="4f87f5c5-bcee-4be6-a20f-272dee480f1d"/>
    <ds:schemaRef ds:uri="f46ff75a-2ebb-4af0-8234-2ad33a61d44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Squarewise - Presentatie Leeg</Template>
  <TotalTime>5</TotalTime>
  <Words>1032</Words>
  <Application>Microsoft Office PowerPoint</Application>
  <PresentationFormat>Aangepast</PresentationFormat>
  <Paragraphs>168</Paragraphs>
  <Slides>28</Slides>
  <Notes>13</Notes>
  <HiddenSlides>0</HiddenSlides>
  <MMClips>0</MMClips>
  <ScaleCrop>false</ScaleCrop>
  <HeadingPairs>
    <vt:vector size="8" baseType="variant">
      <vt:variant>
        <vt:lpstr>Gebruikte lettertypen</vt:lpstr>
      </vt:variant>
      <vt:variant>
        <vt:i4>13</vt:i4>
      </vt:variant>
      <vt:variant>
        <vt:lpstr>Thema</vt:lpstr>
      </vt:variant>
      <vt:variant>
        <vt:i4>3</vt:i4>
      </vt:variant>
      <vt:variant>
        <vt:lpstr>Ingesloten OLE-bronprogramma's</vt:lpstr>
      </vt:variant>
      <vt:variant>
        <vt:i4>1</vt:i4>
      </vt:variant>
      <vt:variant>
        <vt:lpstr>Diatitels</vt:lpstr>
      </vt:variant>
      <vt:variant>
        <vt:i4>28</vt:i4>
      </vt:variant>
    </vt:vector>
  </HeadingPairs>
  <TitlesOfParts>
    <vt:vector size="45" baseType="lpstr">
      <vt:lpstr>-apple-system</vt:lpstr>
      <vt:lpstr>Arial</vt:lpstr>
      <vt:lpstr>Calibri</vt:lpstr>
      <vt:lpstr>Calibri Light</vt:lpstr>
      <vt:lpstr>Campton Book</vt:lpstr>
      <vt:lpstr>Campton Light</vt:lpstr>
      <vt:lpstr>Georgia</vt:lpstr>
      <vt:lpstr>Helvetica Neue</vt:lpstr>
      <vt:lpstr>Helvetica Neue Medium</vt:lpstr>
      <vt:lpstr>Source Sans Pro</vt:lpstr>
      <vt:lpstr>Source Sans Pro Light</vt:lpstr>
      <vt:lpstr>Source Sans Pro Regular</vt:lpstr>
      <vt:lpstr>Source Sans Pro SemiBold</vt:lpstr>
      <vt:lpstr>Squarewise</vt:lpstr>
      <vt:lpstr>Office Theme</vt:lpstr>
      <vt:lpstr>Content Slides</vt:lpstr>
      <vt:lpstr>think-cell Slide</vt:lpstr>
      <vt:lpstr>Doorbraakprojecten: projectvoorstellen subsidie klaar maken</vt:lpstr>
      <vt:lpstr>Agenda</vt:lpstr>
      <vt:lpstr>Website Vernieuwersnetwerk  Biobased Bouwen Zuid-Holland</vt:lpstr>
      <vt:lpstr>PowerPoint-presentatie</vt:lpstr>
      <vt:lpstr>PowerPoint-presentatie</vt:lpstr>
      <vt:lpstr>PowerPoint-presentatie</vt:lpstr>
      <vt:lpstr>Subsidieregeling Circulair Zuid-Holland</vt:lpstr>
      <vt:lpstr>Gijs Diercks van Drift – slides insert</vt:lpstr>
      <vt:lpstr>PowerPoint-presentatie</vt:lpstr>
      <vt:lpstr>PowerPoint-presentatie</vt:lpstr>
      <vt:lpstr>Transitievraagstuk</vt:lpstr>
      <vt:lpstr>PowerPoint-presentatie</vt:lpstr>
      <vt:lpstr>Biobased Bouwen raakt aan meerdere transitieopgaven</vt:lpstr>
      <vt:lpstr>Biobased bouwen: diverse transities komen samen</vt:lpstr>
      <vt:lpstr>Wat is de staat van transitie?</vt:lpstr>
      <vt:lpstr>Maar we staan nog aan het begin….</vt:lpstr>
      <vt:lpstr>Doorbraakprojecten gezocht</vt:lpstr>
      <vt:lpstr>Wat is een doorbraakproject?</vt:lpstr>
      <vt:lpstr>radicaliteit</vt:lpstr>
      <vt:lpstr>Impact</vt:lpstr>
      <vt:lpstr>Haalbaarheid</vt:lpstr>
      <vt:lpstr>PowerPoint-presentatie</vt:lpstr>
      <vt:lpstr>PowerPoint-presentatie</vt:lpstr>
      <vt:lpstr>Transitiepaden naar een biobased toekomst</vt:lpstr>
      <vt:lpstr>Resultaat van netwerk bijeenkomst 21 maart 2022</vt:lpstr>
      <vt:lpstr>Deelsessies doorbraakprojecten</vt:lpstr>
      <vt:lpstr>Aan de slag!</vt:lpstr>
      <vt:lpstr>PowerPoint-presenta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oorbraakprojecten: projectvoorstellen subsidie klaar maken</dc:title>
  <dc:creator>Charlotte Derksen</dc:creator>
  <cp:lastModifiedBy>Pascal van Dam</cp:lastModifiedBy>
  <cp:revision>1</cp:revision>
  <dcterms:created xsi:type="dcterms:W3CDTF">2023-06-06T12:43:56Z</dcterms:created>
  <dcterms:modified xsi:type="dcterms:W3CDTF">2023-06-13T07:3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4FE7D942CEAA48B4A88C4A9215533A</vt:lpwstr>
  </property>
</Properties>
</file>